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wdp" ContentType="image/vnd.ms-photo"/>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229" r:id="rId4"/>
    <p:sldMasterId id="2147484528" r:id="rId5"/>
    <p:sldMasterId id="2147484538" r:id="rId6"/>
    <p:sldMasterId id="2147484545" r:id="rId7"/>
    <p:sldMasterId id="2147484559" r:id="rId8"/>
    <p:sldMasterId id="2147484572" r:id="rId9"/>
  </p:sldMasterIdLst>
  <p:notesMasterIdLst>
    <p:notesMasterId r:id="rId59"/>
  </p:notesMasterIdLst>
  <p:handoutMasterIdLst>
    <p:handoutMasterId r:id="rId60"/>
  </p:handoutMasterIdLst>
  <p:sldIdLst>
    <p:sldId id="1596" r:id="rId10"/>
    <p:sldId id="1505" r:id="rId11"/>
    <p:sldId id="1597" r:id="rId12"/>
    <p:sldId id="1598" r:id="rId13"/>
    <p:sldId id="1599" r:id="rId14"/>
    <p:sldId id="1514" r:id="rId15"/>
    <p:sldId id="1595" r:id="rId16"/>
    <p:sldId id="1594" r:id="rId17"/>
    <p:sldId id="1515" r:id="rId18"/>
    <p:sldId id="1570" r:id="rId19"/>
    <p:sldId id="1571" r:id="rId20"/>
    <p:sldId id="1600" r:id="rId21"/>
    <p:sldId id="1575" r:id="rId22"/>
    <p:sldId id="1601" r:id="rId23"/>
    <p:sldId id="1576" r:id="rId24"/>
    <p:sldId id="1577" r:id="rId25"/>
    <p:sldId id="1578" r:id="rId26"/>
    <p:sldId id="1579" r:id="rId27"/>
    <p:sldId id="1580" r:id="rId28"/>
    <p:sldId id="1542" r:id="rId29"/>
    <p:sldId id="1546" r:id="rId30"/>
    <p:sldId id="1547" r:id="rId31"/>
    <p:sldId id="1548" r:id="rId32"/>
    <p:sldId id="1549" r:id="rId33"/>
    <p:sldId id="1550" r:id="rId34"/>
    <p:sldId id="1551" r:id="rId35"/>
    <p:sldId id="1552" r:id="rId36"/>
    <p:sldId id="1553" r:id="rId37"/>
    <p:sldId id="1554" r:id="rId38"/>
    <p:sldId id="1555" r:id="rId39"/>
    <p:sldId id="1556" r:id="rId40"/>
    <p:sldId id="1557" r:id="rId41"/>
    <p:sldId id="1589" r:id="rId42"/>
    <p:sldId id="1558" r:id="rId43"/>
    <p:sldId id="1559" r:id="rId44"/>
    <p:sldId id="1560" r:id="rId45"/>
    <p:sldId id="1561" r:id="rId46"/>
    <p:sldId id="1590" r:id="rId47"/>
    <p:sldId id="1562" r:id="rId48"/>
    <p:sldId id="1563" r:id="rId49"/>
    <p:sldId id="1591" r:id="rId50"/>
    <p:sldId id="1564" r:id="rId51"/>
    <p:sldId id="1565" r:id="rId52"/>
    <p:sldId id="1592" r:id="rId53"/>
    <p:sldId id="1566" r:id="rId54"/>
    <p:sldId id="1567" r:id="rId55"/>
    <p:sldId id="1568" r:id="rId56"/>
    <p:sldId id="1593" r:id="rId57"/>
    <p:sldId id="1502" r:id="rId58"/>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F0"/>
    <a:srgbClr val="002864"/>
    <a:srgbClr val="002050"/>
    <a:srgbClr val="00BCF2"/>
    <a:srgbClr val="FFCC00"/>
    <a:srgbClr val="005AA1"/>
    <a:srgbClr val="FCB713"/>
    <a:srgbClr val="0078D7"/>
    <a:srgbClr val="0D7595"/>
    <a:srgbClr val="5ACB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721" autoAdjust="0"/>
    <p:restoredTop sz="78983" autoAdjust="0"/>
  </p:normalViewPr>
  <p:slideViewPr>
    <p:cSldViewPr snapToGrid="0">
      <p:cViewPr varScale="1">
        <p:scale>
          <a:sx n="99" d="100"/>
          <a:sy n="99" d="100"/>
        </p:scale>
        <p:origin x="744" y="192"/>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99" d="100"/>
          <a:sy n="99" d="100"/>
        </p:scale>
        <p:origin x="3570"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4" Type="http://schemas.openxmlformats.org/officeDocument/2006/relationships/slide" Target="slides/slide5.xml"/><Relationship Id="rId15" Type="http://schemas.openxmlformats.org/officeDocument/2006/relationships/slide" Target="slides/slide6.xml"/><Relationship Id="rId16" Type="http://schemas.openxmlformats.org/officeDocument/2006/relationships/slide" Target="slides/slide7.xml"/><Relationship Id="rId17" Type="http://schemas.openxmlformats.org/officeDocument/2006/relationships/slide" Target="slides/slide8.xml"/><Relationship Id="rId18" Type="http://schemas.openxmlformats.org/officeDocument/2006/relationships/slide" Target="slides/slide9.xml"/><Relationship Id="rId19" Type="http://schemas.openxmlformats.org/officeDocument/2006/relationships/slide" Target="slides/slide10.xml"/><Relationship Id="rId63" Type="http://schemas.openxmlformats.org/officeDocument/2006/relationships/viewProps" Target="viewProps.xml"/><Relationship Id="rId64" Type="http://schemas.openxmlformats.org/officeDocument/2006/relationships/theme" Target="theme/theme1.xml"/><Relationship Id="rId65" Type="http://schemas.openxmlformats.org/officeDocument/2006/relationships/tableStyles" Target="tableStyles.xml"/><Relationship Id="rId50" Type="http://schemas.openxmlformats.org/officeDocument/2006/relationships/slide" Target="slides/slide41.xml"/><Relationship Id="rId51" Type="http://schemas.openxmlformats.org/officeDocument/2006/relationships/slide" Target="slides/slide42.xml"/><Relationship Id="rId52" Type="http://schemas.openxmlformats.org/officeDocument/2006/relationships/slide" Target="slides/slide43.xml"/><Relationship Id="rId53" Type="http://schemas.openxmlformats.org/officeDocument/2006/relationships/slide" Target="slides/slide44.xml"/><Relationship Id="rId54" Type="http://schemas.openxmlformats.org/officeDocument/2006/relationships/slide" Target="slides/slide45.xml"/><Relationship Id="rId55" Type="http://schemas.openxmlformats.org/officeDocument/2006/relationships/slide" Target="slides/slide46.xml"/><Relationship Id="rId56" Type="http://schemas.openxmlformats.org/officeDocument/2006/relationships/slide" Target="slides/slide47.xml"/><Relationship Id="rId57" Type="http://schemas.openxmlformats.org/officeDocument/2006/relationships/slide" Target="slides/slide48.xml"/><Relationship Id="rId58" Type="http://schemas.openxmlformats.org/officeDocument/2006/relationships/slide" Target="slides/slide49.xml"/><Relationship Id="rId59" Type="http://schemas.openxmlformats.org/officeDocument/2006/relationships/notesMaster" Target="notesMasters/notesMaster1.xml"/><Relationship Id="rId40" Type="http://schemas.openxmlformats.org/officeDocument/2006/relationships/slide" Target="slides/slide31.xml"/><Relationship Id="rId41" Type="http://schemas.openxmlformats.org/officeDocument/2006/relationships/slide" Target="slides/slide32.xml"/><Relationship Id="rId42" Type="http://schemas.openxmlformats.org/officeDocument/2006/relationships/slide" Target="slides/slide33.xml"/><Relationship Id="rId43" Type="http://schemas.openxmlformats.org/officeDocument/2006/relationships/slide" Target="slides/slide34.xml"/><Relationship Id="rId44" Type="http://schemas.openxmlformats.org/officeDocument/2006/relationships/slide" Target="slides/slide35.xml"/><Relationship Id="rId45" Type="http://schemas.openxmlformats.org/officeDocument/2006/relationships/slide" Target="slides/slide36.xml"/><Relationship Id="rId46" Type="http://schemas.openxmlformats.org/officeDocument/2006/relationships/slide" Target="slides/slide37.xml"/><Relationship Id="rId47" Type="http://schemas.openxmlformats.org/officeDocument/2006/relationships/slide" Target="slides/slide38.xml"/><Relationship Id="rId48" Type="http://schemas.openxmlformats.org/officeDocument/2006/relationships/slide" Target="slides/slide39.xml"/><Relationship Id="rId49" Type="http://schemas.openxmlformats.org/officeDocument/2006/relationships/slide" Target="slides/slide40.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Master" Target="slideMasters/slideMaster5.xml"/><Relationship Id="rId9" Type="http://schemas.openxmlformats.org/officeDocument/2006/relationships/slideMaster" Target="slideMasters/slideMaster6.xml"/><Relationship Id="rId30" Type="http://schemas.openxmlformats.org/officeDocument/2006/relationships/slide" Target="slides/slide21.xml"/><Relationship Id="rId31" Type="http://schemas.openxmlformats.org/officeDocument/2006/relationships/slide" Target="slides/slide22.xml"/><Relationship Id="rId32" Type="http://schemas.openxmlformats.org/officeDocument/2006/relationships/slide" Target="slides/slide23.xml"/><Relationship Id="rId33" Type="http://schemas.openxmlformats.org/officeDocument/2006/relationships/slide" Target="slides/slide24.xml"/><Relationship Id="rId34" Type="http://schemas.openxmlformats.org/officeDocument/2006/relationships/slide" Target="slides/slide25.xml"/><Relationship Id="rId35" Type="http://schemas.openxmlformats.org/officeDocument/2006/relationships/slide" Target="slides/slide26.xml"/><Relationship Id="rId36" Type="http://schemas.openxmlformats.org/officeDocument/2006/relationships/slide" Target="slides/slide27.xml"/><Relationship Id="rId37" Type="http://schemas.openxmlformats.org/officeDocument/2006/relationships/slide" Target="slides/slide28.xml"/><Relationship Id="rId38" Type="http://schemas.openxmlformats.org/officeDocument/2006/relationships/slide" Target="slides/slide29.xml"/><Relationship Id="rId39" Type="http://schemas.openxmlformats.org/officeDocument/2006/relationships/slide" Target="slides/slide30.xml"/><Relationship Id="rId20" Type="http://schemas.openxmlformats.org/officeDocument/2006/relationships/slide" Target="slides/slide11.xml"/><Relationship Id="rId21" Type="http://schemas.openxmlformats.org/officeDocument/2006/relationships/slide" Target="slides/slide12.xml"/><Relationship Id="rId22" Type="http://schemas.openxmlformats.org/officeDocument/2006/relationships/slide" Target="slides/slide13.xml"/><Relationship Id="rId23" Type="http://schemas.openxmlformats.org/officeDocument/2006/relationships/slide" Target="slides/slide14.xml"/><Relationship Id="rId24" Type="http://schemas.openxmlformats.org/officeDocument/2006/relationships/slide" Target="slides/slide15.xml"/><Relationship Id="rId25" Type="http://schemas.openxmlformats.org/officeDocument/2006/relationships/slide" Target="slides/slide16.xml"/><Relationship Id="rId26" Type="http://schemas.openxmlformats.org/officeDocument/2006/relationships/slide" Target="slides/slide17.xml"/><Relationship Id="rId27" Type="http://schemas.openxmlformats.org/officeDocument/2006/relationships/slide" Target="slides/slide18.xml"/><Relationship Id="rId28" Type="http://schemas.openxmlformats.org/officeDocument/2006/relationships/slide" Target="slides/slide19.xml"/><Relationship Id="rId29" Type="http://schemas.openxmlformats.org/officeDocument/2006/relationships/slide" Target="slides/slide20.xml"/><Relationship Id="rId60" Type="http://schemas.openxmlformats.org/officeDocument/2006/relationships/handoutMaster" Target="handoutMasters/handoutMaster1.xml"/><Relationship Id="rId61" Type="http://schemas.openxmlformats.org/officeDocument/2006/relationships/commentAuthors" Target="commentAuthors.xml"/><Relationship Id="rId62" Type="http://schemas.openxmlformats.org/officeDocument/2006/relationships/presProps" Target="presProps.xml"/><Relationship Id="rId10" Type="http://schemas.openxmlformats.org/officeDocument/2006/relationships/slide" Target="slides/slide1.xml"/><Relationship Id="rId11" Type="http://schemas.openxmlformats.org/officeDocument/2006/relationships/slide" Target="slides/slide2.xml"/><Relationship Id="rId12" Type="http://schemas.openxmlformats.org/officeDocument/2006/relationships/slide" Target="slides/slide3.xml"/></Relationships>
</file>

<file path=ppt/diagrams/_rels/data2.xml.rels><?xml version="1.0" encoding="UTF-8" standalone="yes"?>
<Relationships xmlns="http://schemas.openxmlformats.org/package/2006/relationships"><Relationship Id="rId3" Type="http://schemas.openxmlformats.org/officeDocument/2006/relationships/image" Target="../media/image25.png"/><Relationship Id="rId4" Type="http://schemas.openxmlformats.org/officeDocument/2006/relationships/image" Target="../media/image26.png"/><Relationship Id="rId5" Type="http://schemas.openxmlformats.org/officeDocument/2006/relationships/image" Target="../media/image27.png"/><Relationship Id="rId6" Type="http://schemas.openxmlformats.org/officeDocument/2006/relationships/image" Target="../media/image28.png"/><Relationship Id="rId7" Type="http://schemas.openxmlformats.org/officeDocument/2006/relationships/image" Target="../media/image29.png"/><Relationship Id="rId8" Type="http://schemas.openxmlformats.org/officeDocument/2006/relationships/image" Target="../media/image30.png"/><Relationship Id="rId9" Type="http://schemas.openxmlformats.org/officeDocument/2006/relationships/image" Target="../media/image31.png"/><Relationship Id="rId10" Type="http://schemas.openxmlformats.org/officeDocument/2006/relationships/image" Target="../media/image32.png"/><Relationship Id="rId11" Type="http://schemas.openxmlformats.org/officeDocument/2006/relationships/image" Target="../media/image33.png"/><Relationship Id="rId1" Type="http://schemas.openxmlformats.org/officeDocument/2006/relationships/image" Target="../media/image23.png"/><Relationship Id="rId2" Type="http://schemas.openxmlformats.org/officeDocument/2006/relationships/image" Target="../media/image24.png"/></Relationships>
</file>

<file path=ppt/diagrams/_rels/drawing2.xml.rels><?xml version="1.0" encoding="UTF-8" standalone="yes"?>
<Relationships xmlns="http://schemas.openxmlformats.org/package/2006/relationships"><Relationship Id="rId3" Type="http://schemas.openxmlformats.org/officeDocument/2006/relationships/image" Target="../media/image25.png"/><Relationship Id="rId4" Type="http://schemas.openxmlformats.org/officeDocument/2006/relationships/image" Target="../media/image26.png"/><Relationship Id="rId5" Type="http://schemas.openxmlformats.org/officeDocument/2006/relationships/image" Target="../media/image27.png"/><Relationship Id="rId6" Type="http://schemas.openxmlformats.org/officeDocument/2006/relationships/image" Target="../media/image28.png"/><Relationship Id="rId7" Type="http://schemas.openxmlformats.org/officeDocument/2006/relationships/image" Target="../media/image29.png"/><Relationship Id="rId8" Type="http://schemas.openxmlformats.org/officeDocument/2006/relationships/image" Target="../media/image30.png"/><Relationship Id="rId9" Type="http://schemas.openxmlformats.org/officeDocument/2006/relationships/image" Target="../media/image31.png"/><Relationship Id="rId10" Type="http://schemas.openxmlformats.org/officeDocument/2006/relationships/image" Target="../media/image32.png"/><Relationship Id="rId11" Type="http://schemas.openxmlformats.org/officeDocument/2006/relationships/image" Target="../media/image33.png"/><Relationship Id="rId1" Type="http://schemas.openxmlformats.org/officeDocument/2006/relationships/image" Target="../media/image23.png"/><Relationship Id="rId2" Type="http://schemas.openxmlformats.org/officeDocument/2006/relationships/image" Target="../media/image24.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0FF8BA2A-500B-413D-8B7A-0FD72A53075A}">
      <dgm:prSet phldrT="[Text]" custT="1"/>
      <dgm:spPr/>
      <dgm:t>
        <a:bodyPr/>
        <a:lstStyle/>
        <a:p>
          <a:pPr algn="ctr"/>
          <a:r>
            <a:rPr lang="en-US" sz="2800" dirty="0">
              <a:latin typeface="+mj-lt"/>
            </a:rPr>
            <a:t>Business Understanding</a:t>
          </a:r>
        </a:p>
      </dgm:t>
    </dgm:pt>
    <dgm:pt modelId="{A445CB5E-895F-4150-B184-2C8283752FC5}" type="parTrans" cxnId="{A346880C-19BB-492E-86E8-A5888A7956E2}">
      <dgm:prSet/>
      <dgm:spPr/>
      <dgm:t>
        <a:bodyPr/>
        <a:lstStyle/>
        <a:p>
          <a:endParaRPr lang="en-US">
            <a:latin typeface="+mj-lt"/>
          </a:endParaRPr>
        </a:p>
      </dgm:t>
    </dgm:pt>
    <dgm:pt modelId="{F4903262-3BB8-4A76-A3AA-54C0993BC220}" type="sibTrans" cxnId="{A346880C-19BB-492E-86E8-A5888A7956E2}">
      <dgm:prSet/>
      <dgm:spPr/>
      <dgm:t>
        <a:bodyPr/>
        <a:lstStyle/>
        <a:p>
          <a:endParaRPr lang="en-US">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a:latin typeface="+mj-lt"/>
          </a:endParaRPr>
        </a:p>
      </dgm:t>
    </dgm:pt>
    <dgm:pt modelId="{C3FF912E-6EAA-40C0-8E91-AAAED8175040}" type="sibTrans" cxnId="{B844C6F1-2818-4F3A-97BB-A513A7A6487D}">
      <dgm:prSet/>
      <dgm:spPr/>
      <dgm:t>
        <a:bodyPr/>
        <a:lstStyle/>
        <a:p>
          <a:endParaRPr lang="en-US">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a:latin typeface="+mj-lt"/>
          </a:endParaRPr>
        </a:p>
      </dgm:t>
    </dgm:pt>
    <dgm:pt modelId="{C70C4ADA-4F3B-4BCA-9873-A32F1BD4BEED}" type="sibTrans" cxnId="{220E0694-B595-46BE-BDB9-2B1763BF7F42}">
      <dgm:prSet/>
      <dgm:spPr/>
      <dgm:t>
        <a:bodyPr/>
        <a:lstStyle/>
        <a:p>
          <a:endParaRPr lang="en-US">
            <a:latin typeface="+mj-lt"/>
          </a:endParaRPr>
        </a:p>
      </dgm:t>
    </dgm:pt>
    <dgm:pt modelId="{F1A8E0FB-6830-44B9-AD5D-2C6541803F4D}">
      <dgm:prSet phldrT="[Text]" custT="1"/>
      <dgm:spPr/>
      <dgm:t>
        <a:bodyPr/>
        <a:lstStyle/>
        <a:p>
          <a:pPr algn="ctr"/>
          <a:r>
            <a:rPr lang="en-US" sz="2800" dirty="0">
              <a:latin typeface="+mj-lt"/>
            </a:rPr>
            <a:t>Data Acquisition and Understanding</a:t>
          </a:r>
        </a:p>
      </dgm:t>
    </dgm:pt>
    <dgm:pt modelId="{BA9882FF-0D62-440B-AE35-07B5440B7352}" type="parTrans" cxnId="{DA864F5A-43C0-4EAB-ACD8-C653DCDBC285}">
      <dgm:prSet/>
      <dgm:spPr/>
      <dgm:t>
        <a:bodyPr/>
        <a:lstStyle/>
        <a:p>
          <a:endParaRPr lang="en-US">
            <a:latin typeface="+mj-lt"/>
          </a:endParaRPr>
        </a:p>
      </dgm:t>
    </dgm:pt>
    <dgm:pt modelId="{BE3BCC92-A824-45B0-AD74-589AA75A91ED}" type="sibTrans" cxnId="{DA864F5A-43C0-4EAB-ACD8-C653DCDBC285}">
      <dgm:prSet/>
      <dgm:spPr/>
      <dgm:t>
        <a:bodyPr/>
        <a:lstStyle/>
        <a:p>
          <a:endParaRPr lang="en-US">
            <a:latin typeface="+mj-lt"/>
          </a:endParaRPr>
        </a:p>
      </dgm:t>
    </dgm:pt>
    <dgm:pt modelId="{6DCAF490-84DF-45AB-95F8-850141BC8BDF}">
      <dgm:prSet phldrT="[Text]" custT="1"/>
      <dgm:spPr/>
      <dgm:t>
        <a:bodyPr/>
        <a:lstStyle/>
        <a:p>
          <a:r>
            <a:rPr lang="en-US" sz="2000" dirty="0">
              <a:latin typeface="+mj-lt"/>
            </a:rPr>
            <a:t>Ingest Data</a:t>
          </a:r>
        </a:p>
      </dgm:t>
    </dgm:pt>
    <dgm:pt modelId="{313354FE-947E-4C91-850E-55158EB5406E}" type="parTrans" cxnId="{DB01149F-013B-4AAC-83B8-EA5A02812FB1}">
      <dgm:prSet/>
      <dgm:spPr/>
      <dgm:t>
        <a:bodyPr/>
        <a:lstStyle/>
        <a:p>
          <a:endParaRPr lang="en-US">
            <a:latin typeface="+mj-lt"/>
          </a:endParaRPr>
        </a:p>
      </dgm:t>
    </dgm:pt>
    <dgm:pt modelId="{263CB43B-A0A5-48BB-9C20-6635267C3C22}" type="sibTrans" cxnId="{DB01149F-013B-4AAC-83B8-EA5A02812FB1}">
      <dgm:prSet/>
      <dgm:spPr/>
      <dgm:t>
        <a:bodyPr/>
        <a:lstStyle/>
        <a:p>
          <a:endParaRPr lang="en-US">
            <a:latin typeface="+mj-lt"/>
          </a:endParaRPr>
        </a:p>
      </dgm:t>
    </dgm:pt>
    <dgm:pt modelId="{FFA8810D-171E-4ADC-9CA8-AD57E9D504B9}">
      <dgm:prSet phldrT="[Text]" custT="1"/>
      <dgm:spPr/>
      <dgm:t>
        <a:bodyPr/>
        <a:lstStyle/>
        <a:p>
          <a:r>
            <a:rPr lang="en-US" sz="2000" dirty="0">
              <a:latin typeface="+mj-lt"/>
            </a:rPr>
            <a:t>Explore Data</a:t>
          </a:r>
        </a:p>
      </dgm:t>
    </dgm:pt>
    <dgm:pt modelId="{5D65951A-CE03-4794-9B2D-0A910A6F7FFB}" type="parTrans" cxnId="{E0CB53AF-1846-4839-A817-1BC95F8C73F9}">
      <dgm:prSet/>
      <dgm:spPr/>
      <dgm:t>
        <a:bodyPr/>
        <a:lstStyle/>
        <a:p>
          <a:endParaRPr lang="en-US">
            <a:latin typeface="+mj-lt"/>
          </a:endParaRPr>
        </a:p>
      </dgm:t>
    </dgm:pt>
    <dgm:pt modelId="{39C8D19E-6ADE-404A-843B-5F7020E72704}" type="sibTrans" cxnId="{E0CB53AF-1846-4839-A817-1BC95F8C73F9}">
      <dgm:prSet/>
      <dgm:spPr/>
      <dgm:t>
        <a:bodyPr/>
        <a:lstStyle/>
        <a:p>
          <a:endParaRPr lang="en-US">
            <a:latin typeface="+mj-lt"/>
          </a:endParaRPr>
        </a:p>
      </dgm:t>
    </dgm:pt>
    <dgm:pt modelId="{D66E06A0-8A7E-4EC6-8113-DDE9A8B91FA6}">
      <dgm:prSet phldrT="[Text]" custT="1"/>
      <dgm:spPr/>
      <dgm:t>
        <a:bodyPr/>
        <a:lstStyle/>
        <a:p>
          <a:pPr algn="ctr"/>
          <a:r>
            <a:rPr lang="en-US" sz="2800" dirty="0">
              <a:latin typeface="+mj-lt"/>
            </a:rPr>
            <a:t>Modeling</a:t>
          </a:r>
        </a:p>
      </dgm:t>
    </dgm:pt>
    <dgm:pt modelId="{C867E6D7-68AF-43C6-9E80-BCCDD787550D}" type="parTrans" cxnId="{BEEC91A6-BF3F-4E21-859A-6D47ACAB8869}">
      <dgm:prSet/>
      <dgm:spPr/>
      <dgm:t>
        <a:bodyPr/>
        <a:lstStyle/>
        <a:p>
          <a:endParaRPr lang="en-US">
            <a:latin typeface="+mj-lt"/>
          </a:endParaRPr>
        </a:p>
      </dgm:t>
    </dgm:pt>
    <dgm:pt modelId="{4B0A02DB-F299-4AF6-A72B-B326FF7FE0BF}" type="sibTrans" cxnId="{BEEC91A6-BF3F-4E21-859A-6D47ACAB8869}">
      <dgm:prSet/>
      <dgm:spPr/>
      <dgm:t>
        <a:bodyPr/>
        <a:lstStyle/>
        <a:p>
          <a:endParaRPr lang="en-US">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a:latin typeface="+mj-lt"/>
          </a:endParaRPr>
        </a:p>
      </dgm:t>
    </dgm:pt>
    <dgm:pt modelId="{1759AAC5-ADE9-4C55-8CBC-F1BA87C7A449}" type="sibTrans" cxnId="{61EC2C2C-336E-4152-BF38-E133255426BA}">
      <dgm:prSet/>
      <dgm:spPr/>
      <dgm:t>
        <a:bodyPr/>
        <a:lstStyle/>
        <a:p>
          <a:endParaRPr lang="en-US">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a:latin typeface="+mj-lt"/>
          </a:endParaRPr>
        </a:p>
      </dgm:t>
    </dgm:pt>
    <dgm:pt modelId="{7ECF0E78-DA31-4B08-B8BA-D36DB4135973}" type="sibTrans" cxnId="{F0686254-8BC6-438F-8EFC-387D3C1B4582}">
      <dgm:prSet/>
      <dgm:spPr/>
      <dgm:t>
        <a:bodyPr/>
        <a:lstStyle/>
        <a:p>
          <a:endParaRPr lang="en-US">
            <a:latin typeface="+mj-lt"/>
          </a:endParaRPr>
        </a:p>
      </dgm:t>
    </dgm:pt>
    <dgm:pt modelId="{31989D70-38F8-40B4-A5B4-5B64244B04DB}">
      <dgm:prSet phldrT="[Text]" custT="1"/>
      <dgm:spPr/>
      <dgm:t>
        <a:bodyPr/>
        <a:lstStyle/>
        <a:p>
          <a:pPr algn="ctr"/>
          <a:r>
            <a:rPr lang="en-US" sz="2800" dirty="0">
              <a:latin typeface="+mj-lt"/>
            </a:rPr>
            <a:t>Deployment</a:t>
          </a:r>
        </a:p>
      </dgm:t>
    </dgm:pt>
    <dgm:pt modelId="{E572721F-5C44-451C-B622-59B69949FB6F}" type="parTrans" cxnId="{991DC740-DAA8-4D0F-9BAB-A0D216E7CC9C}">
      <dgm:prSet/>
      <dgm:spPr/>
      <dgm:t>
        <a:bodyPr/>
        <a:lstStyle/>
        <a:p>
          <a:endParaRPr lang="en-US">
            <a:latin typeface="+mj-lt"/>
          </a:endParaRPr>
        </a:p>
      </dgm:t>
    </dgm:pt>
    <dgm:pt modelId="{FF3730C5-5E1C-4ACF-986C-1F8BDC2A87DC}" type="sibTrans" cxnId="{991DC740-DAA8-4D0F-9BAB-A0D216E7CC9C}">
      <dgm:prSet/>
      <dgm:spPr/>
      <dgm:t>
        <a:bodyPr/>
        <a:lstStyle/>
        <a:p>
          <a:endParaRPr lang="en-US">
            <a:latin typeface="+mj-lt"/>
          </a:endParaRPr>
        </a:p>
      </dgm:t>
    </dgm:pt>
    <dgm:pt modelId="{75DF6D0E-EF2D-4899-8D56-11F561E3DB25}">
      <dgm:prSet phldrT="[Text]" custT="1"/>
      <dgm:spPr/>
      <dgm:t>
        <a:bodyPr/>
        <a:lstStyle/>
        <a:p>
          <a:pPr algn="ctr"/>
          <a:r>
            <a:rPr lang="en-US" sz="2800" dirty="0">
              <a:latin typeface="+mj-lt"/>
            </a:rPr>
            <a:t>Customer Acceptance</a:t>
          </a:r>
        </a:p>
      </dgm:t>
    </dgm:pt>
    <dgm:pt modelId="{510C85D3-5932-4392-B61F-F44832C002FA}" type="parTrans" cxnId="{6D864F09-96B6-4444-95BB-D36241D055AD}">
      <dgm:prSet/>
      <dgm:spPr/>
      <dgm:t>
        <a:bodyPr/>
        <a:lstStyle/>
        <a:p>
          <a:endParaRPr lang="en-US">
            <a:latin typeface="+mj-lt"/>
          </a:endParaRPr>
        </a:p>
      </dgm:t>
    </dgm:pt>
    <dgm:pt modelId="{EEE1824F-AA0C-4316-B13D-ED5B6C4A0BFF}" type="sibTrans" cxnId="{6D864F09-96B6-4444-95BB-D36241D055AD}">
      <dgm:prSet/>
      <dgm:spPr/>
      <dgm:t>
        <a:bodyPr/>
        <a:lstStyle/>
        <a:p>
          <a:endParaRPr lang="en-US">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a:latin typeface="+mj-lt"/>
          </a:endParaRPr>
        </a:p>
      </dgm:t>
    </dgm:pt>
    <dgm:pt modelId="{71EEF2D0-2FC1-4663-8EEF-F8400FED6EFD}" type="sibTrans" cxnId="{F9E74B76-F3C8-474B-BE2E-672A4119380A}">
      <dgm:prSet/>
      <dgm:spPr/>
      <dgm:t>
        <a:bodyPr/>
        <a:lstStyle/>
        <a:p>
          <a:endParaRPr lang="en-US">
            <a:latin typeface="+mj-lt"/>
          </a:endParaRPr>
        </a:p>
      </dgm:t>
    </dgm:pt>
    <dgm:pt modelId="{0EBDD81E-61F5-4638-8D23-E64C5784A7CF}">
      <dgm:prSet phldrT="[Text]" custT="1"/>
      <dgm:spPr/>
      <dgm:t>
        <a:bodyPr/>
        <a:lstStyle/>
        <a:p>
          <a:r>
            <a:rPr lang="en-US" sz="2000" dirty="0">
              <a:latin typeface="+mj-lt"/>
            </a:rPr>
            <a:t>Testing and Validation</a:t>
          </a:r>
        </a:p>
      </dgm:t>
    </dgm:pt>
    <dgm:pt modelId="{5BB68B6B-2470-4B4F-B825-03319C46AB79}" type="parTrans" cxnId="{0652195D-79AA-41CB-A507-64DF25821FDC}">
      <dgm:prSet/>
      <dgm:spPr/>
      <dgm:t>
        <a:bodyPr/>
        <a:lstStyle/>
        <a:p>
          <a:endParaRPr lang="en-US">
            <a:latin typeface="+mj-lt"/>
          </a:endParaRPr>
        </a:p>
      </dgm:t>
    </dgm:pt>
    <dgm:pt modelId="{91158606-88ED-478A-99A3-FF66895B49FF}" type="sibTrans" cxnId="{0652195D-79AA-41CB-A507-64DF25821FDC}">
      <dgm:prSet/>
      <dgm:spPr/>
      <dgm:t>
        <a:bodyPr/>
        <a:lstStyle/>
        <a:p>
          <a:endParaRPr lang="en-US">
            <a:latin typeface="+mj-lt"/>
          </a:endParaRPr>
        </a:p>
      </dgm:t>
    </dgm:pt>
    <dgm:pt modelId="{8A560357-68DD-41D8-841B-C94F1FF7F8C1}">
      <dgm:prSet phldrT="[Text]" custT="1"/>
      <dgm:spPr/>
      <dgm:t>
        <a:bodyPr/>
        <a:lstStyle/>
        <a:p>
          <a:r>
            <a:rPr lang="en-US" sz="2000" dirty="0">
              <a:latin typeface="+mj-lt"/>
            </a:rPr>
            <a:t>Update Data</a:t>
          </a:r>
        </a:p>
      </dgm:t>
    </dgm:pt>
    <dgm:pt modelId="{3BC3B257-E716-47FF-9C4E-A1CCC502A26F}" type="parTrans" cxnId="{6D9D5740-A78E-432A-A19B-79A7629DFBD0}">
      <dgm:prSet/>
      <dgm:spPr/>
      <dgm:t>
        <a:bodyPr/>
        <a:lstStyle/>
        <a:p>
          <a:endParaRPr lang="en-US">
            <a:latin typeface="+mj-lt"/>
          </a:endParaRPr>
        </a:p>
      </dgm:t>
    </dgm:pt>
    <dgm:pt modelId="{0F75D6C4-A5C5-4C0B-A3E7-E1F9127F0B24}" type="sibTrans" cxnId="{6D9D5740-A78E-432A-A19B-79A7629DFBD0}">
      <dgm:prSet/>
      <dgm:spPr/>
      <dgm:t>
        <a:bodyPr/>
        <a:lstStyle/>
        <a:p>
          <a:endParaRPr lang="en-US">
            <a:latin typeface="+mj-lt"/>
          </a:endParaRPr>
        </a:p>
      </dgm:t>
    </dgm:pt>
    <dgm:pt modelId="{051E23BA-27D6-402B-8FD0-643279078F48}">
      <dgm:prSet phldrT="[Text]" custT="1"/>
      <dgm:spPr/>
      <dgm:t>
        <a:bodyPr/>
        <a:lstStyle/>
        <a:p>
          <a:r>
            <a:rPr lang="en-US" sz="2000" dirty="0">
              <a:latin typeface="+mj-lt"/>
            </a:rPr>
            <a:t>Handoff</a:t>
          </a:r>
        </a:p>
      </dgm:t>
    </dgm:pt>
    <dgm:pt modelId="{DA361144-F3E9-4156-9CC2-FE98E458196C}" type="parTrans" cxnId="{9D250ACB-3782-4169-9513-D5939A72E14C}">
      <dgm:prSet/>
      <dgm:spPr/>
      <dgm:t>
        <a:bodyPr/>
        <a:lstStyle/>
        <a:p>
          <a:endParaRPr lang="en-US">
            <a:latin typeface="+mj-lt"/>
          </a:endParaRPr>
        </a:p>
      </dgm:t>
    </dgm:pt>
    <dgm:pt modelId="{AE55AD9A-A016-48D5-8B34-AF4339F64545}" type="sibTrans" cxnId="{9D250ACB-3782-4169-9513-D5939A72E14C}">
      <dgm:prSet/>
      <dgm:spPr/>
      <dgm:t>
        <a:bodyPr/>
        <a:lstStyle/>
        <a:p>
          <a:endParaRPr lang="en-US">
            <a:latin typeface="+mj-lt"/>
          </a:endParaRPr>
        </a:p>
      </dgm:t>
    </dgm:pt>
    <dgm:pt modelId="{22DA92B9-9C40-4A25-8285-966799791BE7}">
      <dgm:prSet phldrT="[Text]" custT="1"/>
      <dgm:spPr/>
      <dgm:t>
        <a:bodyPr/>
        <a:lstStyle/>
        <a:p>
          <a:r>
            <a:rPr lang="en-US" sz="2000" dirty="0">
              <a:latin typeface="+mj-lt"/>
            </a:rPr>
            <a:t>Re-train and re-score</a:t>
          </a:r>
        </a:p>
      </dgm:t>
    </dgm:pt>
    <dgm:pt modelId="{31A0D76F-F3CA-4A56-BA36-A4E6E0932F46}" type="parTrans" cxnId="{0E99CA05-F61F-4393-A01F-8CCEDBA18F50}">
      <dgm:prSet/>
      <dgm:spPr/>
      <dgm:t>
        <a:bodyPr/>
        <a:lstStyle/>
        <a:p>
          <a:endParaRPr lang="en-US">
            <a:latin typeface="+mj-lt"/>
          </a:endParaRPr>
        </a:p>
      </dgm:t>
    </dgm:pt>
    <dgm:pt modelId="{C2D43770-B53D-4E3F-BFD7-DA47BF161F8F}" type="sibTrans" cxnId="{0E99CA05-F61F-4393-A01F-8CCEDBA18F50}">
      <dgm:prSet/>
      <dgm:spPr/>
      <dgm:t>
        <a:bodyPr/>
        <a:lstStyle/>
        <a:p>
          <a:endParaRPr lang="en-US">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t>
        <a:bodyPr/>
        <a:lstStyle/>
        <a:p>
          <a:endParaRPr lang="en-US"/>
        </a:p>
      </dgm:t>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t>
        <a:bodyPr/>
        <a:lstStyle/>
        <a:p>
          <a:endParaRPr lang="en-US"/>
        </a:p>
      </dgm:t>
    </dgm:pt>
    <dgm:pt modelId="{43C6ABD0-F64A-458E-8A26-0D837897DC64}" type="pres">
      <dgm:prSet presAssocID="{0FF8BA2A-500B-413D-8B7A-0FD72A53075A}" presName="descendantText" presStyleLbl="alignAccFollowNode1" presStyleIdx="0" presStyleCnt="5">
        <dgm:presLayoutVars>
          <dgm:bulletEnabled val="1"/>
        </dgm:presLayoutVars>
      </dgm:prSet>
      <dgm:spPr/>
      <dgm:t>
        <a:bodyPr/>
        <a:lstStyle/>
        <a:p>
          <a:endParaRPr lang="en-US"/>
        </a:p>
      </dgm:t>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t>
        <a:bodyPr/>
        <a:lstStyle/>
        <a:p>
          <a:endParaRPr lang="en-US"/>
        </a:p>
      </dgm:t>
    </dgm:pt>
    <dgm:pt modelId="{B35FD520-5FF0-41BD-887C-8B0911FFCB12}" type="pres">
      <dgm:prSet presAssocID="{F1A8E0FB-6830-44B9-AD5D-2C6541803F4D}" presName="descendantText" presStyleLbl="alignAccFollowNode1" presStyleIdx="1" presStyleCnt="5">
        <dgm:presLayoutVars>
          <dgm:bulletEnabled val="1"/>
        </dgm:presLayoutVars>
      </dgm:prSet>
      <dgm:spPr/>
      <dgm:t>
        <a:bodyPr/>
        <a:lstStyle/>
        <a:p>
          <a:endParaRPr lang="en-US"/>
        </a:p>
      </dgm:t>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t>
        <a:bodyPr/>
        <a:lstStyle/>
        <a:p>
          <a:endParaRPr lang="en-US"/>
        </a:p>
      </dgm:t>
    </dgm:pt>
    <dgm:pt modelId="{EF322D6C-1CB6-431F-8B42-A64D898D2824}" type="pres">
      <dgm:prSet presAssocID="{D66E06A0-8A7E-4EC6-8113-DDE9A8B91FA6}" presName="descendantText" presStyleLbl="alignAccFollowNode1" presStyleIdx="2" presStyleCnt="5">
        <dgm:presLayoutVars>
          <dgm:bulletEnabled val="1"/>
        </dgm:presLayoutVars>
      </dgm:prSet>
      <dgm:spPr/>
      <dgm:t>
        <a:bodyPr/>
        <a:lstStyle/>
        <a:p>
          <a:endParaRPr lang="en-US"/>
        </a:p>
      </dgm:t>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t>
        <a:bodyPr/>
        <a:lstStyle/>
        <a:p>
          <a:endParaRPr lang="en-US"/>
        </a:p>
      </dgm:t>
    </dgm:pt>
    <dgm:pt modelId="{DE1FE771-1582-4775-9E8F-B758D933162D}" type="pres">
      <dgm:prSet presAssocID="{31989D70-38F8-40B4-A5B4-5B64244B04DB}" presName="descendantText" presStyleLbl="alignAccFollowNode1" presStyleIdx="3" presStyleCnt="5">
        <dgm:presLayoutVars>
          <dgm:bulletEnabled val="1"/>
        </dgm:presLayoutVars>
      </dgm:prSet>
      <dgm:spPr/>
      <dgm:t>
        <a:bodyPr/>
        <a:lstStyle/>
        <a:p>
          <a:endParaRPr lang="en-US"/>
        </a:p>
      </dgm:t>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t>
        <a:bodyPr/>
        <a:lstStyle/>
        <a:p>
          <a:endParaRPr lang="en-US"/>
        </a:p>
      </dgm:t>
    </dgm:pt>
    <dgm:pt modelId="{E36319A3-4DDD-4596-A48B-3AFC2FB82E08}" type="pres">
      <dgm:prSet presAssocID="{75DF6D0E-EF2D-4899-8D56-11F561E3DB25}" presName="descendantText" presStyleLbl="alignAccFollowNode1" presStyleIdx="4" presStyleCnt="5">
        <dgm:presLayoutVars>
          <dgm:bulletEnabled val="1"/>
        </dgm:presLayoutVars>
      </dgm:prSet>
      <dgm:spPr/>
      <dgm:t>
        <a:bodyPr/>
        <a:lstStyle/>
        <a:p>
          <a:endParaRPr lang="en-US"/>
        </a:p>
      </dgm:t>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RS)</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t>
        <a:bodyPr/>
        <a:lstStyle/>
        <a:p>
          <a:endParaRPr lang="en-US"/>
        </a:p>
      </dgm:t>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t>
        <a:bodyPr/>
        <a:lstStyle/>
        <a:p>
          <a:endParaRPr lang="en-US"/>
        </a:p>
      </dgm:t>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t>
        <a:bodyPr/>
        <a:lstStyle/>
        <a:p>
          <a:endParaRPr lang="en-US"/>
        </a:p>
      </dgm:t>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t>
        <a:bodyPr/>
        <a:lstStyle/>
        <a:p>
          <a:endParaRPr lang="en-US"/>
        </a:p>
      </dgm:t>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t>
        <a:bodyPr/>
        <a:lstStyle/>
        <a:p>
          <a:endParaRPr lang="en-US"/>
        </a:p>
      </dgm:t>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t>
        <a:bodyPr/>
        <a:lstStyle/>
        <a:p>
          <a:endParaRPr lang="en-US"/>
        </a:p>
      </dgm:t>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t>
        <a:bodyPr/>
        <a:lstStyle/>
        <a:p>
          <a:endParaRPr lang="en-US"/>
        </a:p>
      </dgm:t>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t>
        <a:bodyPr/>
        <a:lstStyle/>
        <a:p>
          <a:endParaRPr lang="en-US"/>
        </a:p>
      </dgm:t>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t>
        <a:bodyPr/>
        <a:lstStyle/>
        <a:p>
          <a:endParaRPr lang="en-US"/>
        </a:p>
      </dgm:t>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t>
        <a:bodyPr/>
        <a:lstStyle/>
        <a:p>
          <a:endParaRPr lang="en-US"/>
        </a:p>
      </dgm:t>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t>
        <a:bodyPr/>
        <a:lstStyle/>
        <a:p>
          <a:endParaRPr lang="en-US"/>
        </a:p>
      </dgm:t>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t>
        <a:bodyPr/>
        <a:lstStyle/>
        <a:p>
          <a:endParaRPr lang="en-US"/>
        </a:p>
      </dgm:t>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t>
        <a:bodyPr/>
        <a:lstStyle/>
        <a:p>
          <a:endParaRPr lang="en-US"/>
        </a:p>
      </dgm:t>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t>
        <a:bodyPr/>
        <a:lstStyle/>
        <a:p>
          <a:endParaRPr lang="en-US"/>
        </a:p>
      </dgm:t>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t>
        <a:bodyPr/>
        <a:lstStyle/>
        <a:p>
          <a:endParaRPr lang="en-US"/>
        </a:p>
      </dgm:t>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t>
        <a:bodyPr/>
        <a:lstStyle/>
        <a:p>
          <a:endParaRPr lang="en-US"/>
        </a:p>
      </dgm:t>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t>
        <a:bodyPr/>
        <a:lstStyle/>
        <a:p>
          <a:endParaRPr lang="en-US"/>
        </a:p>
      </dgm:t>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t>
        <a:bodyPr/>
        <a:lstStyle/>
        <a:p>
          <a:endParaRPr lang="en-US"/>
        </a:p>
      </dgm:t>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t>
        <a:bodyPr/>
        <a:lstStyle/>
        <a:p>
          <a:endParaRPr lang="en-US"/>
        </a:p>
      </dgm:t>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t>
        <a:bodyPr/>
        <a:lstStyle/>
        <a:p>
          <a:endParaRPr lang="en-US"/>
        </a:p>
      </dgm:t>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t>
        <a:bodyPr/>
        <a:lstStyle/>
        <a:p>
          <a:endParaRPr lang="en-US"/>
        </a:p>
      </dgm:t>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t>
        <a:bodyPr/>
        <a:lstStyle/>
        <a:p>
          <a:endParaRPr lang="en-US"/>
        </a:p>
      </dgm:t>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t>
        <a:bodyPr/>
        <a:lstStyle/>
        <a:p>
          <a:endParaRPr lang="en-US"/>
        </a:p>
      </dgm:t>
    </dgm:pt>
  </dgm:ptLst>
  <dgm:cxnLst>
    <dgm:cxn modelId="{7014A16F-3386-4271-823A-1E3479C1A3C3}" type="presOf" srcId="{F29A499B-128E-4ED9-A5CE-D3EC6833A092}" destId="{21FD6BEC-2BE4-4D3B-9A53-4987D8EC21AC}" srcOrd="0" destOrd="0" presId="urn:microsoft.com/office/officeart/2005/8/layout/vList4"/>
    <dgm:cxn modelId="{6810593D-FC64-4330-BAC8-B050DD661FD7}" type="presOf" srcId="{64841DF3-12D3-4C8A-A2EA-2845EC9F38D7}" destId="{A07D94F9-EF30-4E20-8074-E413B239BE21}" srcOrd="0"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29C867A9-706B-4082-99B1-529CF2AA153D}" type="presOf" srcId="{011E79D2-CE12-4ACC-B4D0-D9E003466911}" destId="{FF945313-E4F2-443C-9640-F8236C883CA0}"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DB6381F9-22D0-4EC2-89ED-F9723FBC122B}" srcId="{8DA69A69-DF68-414D-8EA4-5B891DFFA5AF}" destId="{87EED9D7-F903-415E-8AD5-FBB20E57F17C}" srcOrd="10" destOrd="0" parTransId="{9CF7ABFF-4CAE-47CB-923D-1BC6D6E97E96}" sibTransId="{845A9F58-8459-4120-83F7-C236F902D2A4}"/>
    <dgm:cxn modelId="{48C0D9DC-8DEF-4A18-A0E2-0A591D1D23D4}" srcId="{8DA69A69-DF68-414D-8EA4-5B891DFFA5AF}" destId="{64841DF3-12D3-4C8A-A2EA-2845EC9F38D7}" srcOrd="8" destOrd="0" parTransId="{A9E857A5-108E-46DC-B1FD-F3877D7A6824}" sibTransId="{063C695B-C458-492E-9DD8-8C80EDD037E4}"/>
    <dgm:cxn modelId="{FADBC256-B53A-4253-82DD-D9B3730AA1EC}" type="presOf" srcId="{01BDD74D-C028-4813-9A40-60C9E2F57DB0}" destId="{28517874-F162-4DF2-9EB3-F83C7A652985}" srcOrd="1"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DCC80B1A-4E1A-41D5-958B-E5CD639B1B0D}" type="presOf" srcId="{C693AF90-2E67-4389-9BB6-C5D2CAEEC1FF}" destId="{0663B67C-F1DA-4AE8-B977-A72746B0B55A}" srcOrd="0" destOrd="0" presId="urn:microsoft.com/office/officeart/2005/8/layout/vList4"/>
    <dgm:cxn modelId="{3E7B37FE-1F03-4B51-8A7C-5C8D70514817}" type="presOf" srcId="{A7635277-B6AF-417B-AB49-E517FD333C49}" destId="{AF33F1AF-16D3-496F-A982-1F3CBCF4FF8E}" srcOrd="1" destOrd="0" presId="urn:microsoft.com/office/officeart/2005/8/layout/vList4"/>
    <dgm:cxn modelId="{262F509B-DD73-42F9-9BA8-435A6AFF57F4}" type="presOf" srcId="{AB393BA1-5855-49E3-9B86-59C4B29CEA69}" destId="{9D8C2DA9-47A7-491C-9512-DC63D526E7DA}" srcOrd="1" destOrd="0" presId="urn:microsoft.com/office/officeart/2005/8/layout/vList4"/>
    <dgm:cxn modelId="{462546E9-5FC3-417D-9427-DDC067EFBA53}" type="presOf" srcId="{8DA69A69-DF68-414D-8EA4-5B891DFFA5AF}" destId="{3245D8A3-8E5E-4370-9560-7D50F08D1AAC}" srcOrd="0" destOrd="0" presId="urn:microsoft.com/office/officeart/2005/8/layout/vList4"/>
    <dgm:cxn modelId="{8A6687E5-21B2-435D-B10C-332268480112}" srcId="{8DA69A69-DF68-414D-8EA4-5B891DFFA5AF}" destId="{EA167186-6F53-4DC7-A045-E6417D37BF33}" srcOrd="3" destOrd="0" parTransId="{AA45AC8D-893E-49DB-8316-613BBB5646B5}" sibTransId="{9FE0364B-209B-4506-9049-4401EA19AFBC}"/>
    <dgm:cxn modelId="{8D5B359C-D9E7-4132-8320-19453F90DDBD}" type="presOf" srcId="{A7635277-B6AF-417B-AB49-E517FD333C49}" destId="{5409D7A6-CC75-4C85-8991-EB5D7E28A32C}"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6C569132-71B0-4D77-BA25-C5457021688A}" srcId="{8DA69A69-DF68-414D-8EA4-5B891DFFA5AF}" destId="{B1A5E10D-28EF-4A53-BB42-ADFCEDD33914}" srcOrd="1" destOrd="0" parTransId="{4330C9E9-E525-4CE3-8D83-79DC3A7B548F}" sibTransId="{EE6CE372-F5B4-4C65-BB47-2D0CBB1D465F}"/>
    <dgm:cxn modelId="{3F70E3EC-8DAA-43A9-9201-E83ACE16E279}" type="presOf" srcId="{B1A5E10D-28EF-4A53-BB42-ADFCEDD33914}" destId="{72FDBD55-6070-4E85-AA3A-6F7522DCF49F}" srcOrd="0"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F3ED81DC-2C51-47EE-A31F-B6E976CD6458}" srcId="{8DA69A69-DF68-414D-8EA4-5B891DFFA5AF}" destId="{AB393BA1-5855-49E3-9B86-59C4B29CEA69}" srcOrd="2" destOrd="0" parTransId="{FB136A78-F087-494B-A4DD-4AF3EF01BF04}" sibTransId="{CFE1A1C0-1939-44E8-B395-EE878B1AED03}"/>
    <dgm:cxn modelId="{705C021B-4DD7-4E5D-89C9-EDEBD5F17379}" type="presOf" srcId="{CE92E143-7827-4B23-958C-F5E2952926EC}" destId="{BE359720-3DA6-45D3-B11C-BC16643AE4C6}" srcOrd="1" destOrd="0" presId="urn:microsoft.com/office/officeart/2005/8/layout/vList4"/>
    <dgm:cxn modelId="{824BE007-D8A8-4BC5-A897-8BE1CC7D6DDF}" type="presOf" srcId="{C693AF90-2E67-4389-9BB6-C5D2CAEEC1FF}" destId="{DD756981-072A-4F78-ABC7-E2A848633815}" srcOrd="1"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876943E5-6311-4C46-B02D-095CFB15C899}" srcId="{8DA69A69-DF68-414D-8EA4-5B891DFFA5AF}" destId="{A7635277-B6AF-417B-AB49-E517FD333C49}" srcOrd="6" destOrd="0" parTransId="{C477E470-852C-42A8-B063-8341FC3C990C}" sibTransId="{71F53B31-01A5-4EDB-848A-6A0AD6C5A84A}"/>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9888" y="-1245712"/>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77616"/>
        <a:ext cx="3704749" cy="907169"/>
      </dsp:txXfrm>
    </dsp:sp>
    <dsp:sp modelId="{FCE31E78-3DAC-4692-A464-D0C835B3F5C0}">
      <dsp:nvSpPr>
        <dsp:cNvPr id="0" name=""/>
        <dsp:cNvSpPr/>
      </dsp:nvSpPr>
      <dsp:spPr>
        <a:xfrm>
          <a:off x="111" y="2874"/>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a:latin typeface="+mj-lt"/>
            </a:rPr>
            <a:t>Business Understanding</a:t>
          </a:r>
        </a:p>
      </dsp:txBody>
      <dsp:txXfrm>
        <a:off x="61456" y="64219"/>
        <a:ext cx="4152834" cy="1133961"/>
      </dsp:txXfrm>
    </dsp:sp>
    <dsp:sp modelId="{B35FD520-5FF0-41BD-887C-8B0911FFCB12}">
      <dsp:nvSpPr>
        <dsp:cNvPr id="0" name=""/>
        <dsp:cNvSpPr/>
      </dsp:nvSpPr>
      <dsp:spPr>
        <a:xfrm rot="5400000">
          <a:off x="5649888" y="73771"/>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Ingest Data</a:t>
          </a:r>
        </a:p>
        <a:p>
          <a:pPr marL="228600" lvl="1" indent="-228600" algn="l" defTabSz="889000">
            <a:lnSpc>
              <a:spcPct val="90000"/>
            </a:lnSpc>
            <a:spcBef>
              <a:spcPct val="0"/>
            </a:spcBef>
            <a:spcAft>
              <a:spcPct val="15000"/>
            </a:spcAft>
            <a:buChar char="•"/>
          </a:pPr>
          <a:r>
            <a:rPr lang="en-US" sz="2000" kern="1200" dirty="0">
              <a:latin typeface="+mj-lt"/>
            </a:rPr>
            <a:t>Explore Data</a:t>
          </a:r>
        </a:p>
        <a:p>
          <a:pPr marL="228600" lvl="1" indent="-228600" algn="l" defTabSz="889000">
            <a:lnSpc>
              <a:spcPct val="90000"/>
            </a:lnSpc>
            <a:spcBef>
              <a:spcPct val="0"/>
            </a:spcBef>
            <a:spcAft>
              <a:spcPct val="15000"/>
            </a:spcAft>
            <a:buChar char="•"/>
          </a:pPr>
          <a:r>
            <a:rPr lang="en-US" sz="2000" kern="1200" dirty="0">
              <a:latin typeface="+mj-lt"/>
            </a:rPr>
            <a:t>Update Data</a:t>
          </a:r>
        </a:p>
      </dsp:txBody>
      <dsp:txXfrm rot="-5400000">
        <a:off x="4275636" y="1497099"/>
        <a:ext cx="3704749" cy="907169"/>
      </dsp:txXfrm>
    </dsp:sp>
    <dsp:sp modelId="{3E606814-09D9-4B4C-8F40-66F312978EEB}">
      <dsp:nvSpPr>
        <dsp:cNvPr id="0" name=""/>
        <dsp:cNvSpPr/>
      </dsp:nvSpPr>
      <dsp:spPr>
        <a:xfrm>
          <a:off x="111" y="1322358"/>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a:latin typeface="+mj-lt"/>
            </a:rPr>
            <a:t>Data Acquisition and Understanding</a:t>
          </a:r>
        </a:p>
      </dsp:txBody>
      <dsp:txXfrm>
        <a:off x="61456" y="1383703"/>
        <a:ext cx="4152834" cy="1133961"/>
      </dsp:txXfrm>
    </dsp:sp>
    <dsp:sp modelId="{EF322D6C-1CB6-431F-8B42-A64D898D2824}">
      <dsp:nvSpPr>
        <dsp:cNvPr id="0" name=""/>
        <dsp:cNvSpPr/>
      </dsp:nvSpPr>
      <dsp:spPr>
        <a:xfrm rot="5400000">
          <a:off x="5649888" y="1393255"/>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16583"/>
        <a:ext cx="3704749" cy="907169"/>
      </dsp:txXfrm>
    </dsp:sp>
    <dsp:sp modelId="{D8CBC06D-2193-488F-8EDE-5FAA991E0B6B}">
      <dsp:nvSpPr>
        <dsp:cNvPr id="0" name=""/>
        <dsp:cNvSpPr/>
      </dsp:nvSpPr>
      <dsp:spPr>
        <a:xfrm>
          <a:off x="111" y="2641842"/>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a:latin typeface="+mj-lt"/>
            </a:rPr>
            <a:t>Modeling</a:t>
          </a:r>
        </a:p>
      </dsp:txBody>
      <dsp:txXfrm>
        <a:off x="61456" y="2703187"/>
        <a:ext cx="4152834" cy="1133961"/>
      </dsp:txXfrm>
    </dsp:sp>
    <dsp:sp modelId="{DE1FE771-1582-4775-9E8F-B758D933162D}">
      <dsp:nvSpPr>
        <dsp:cNvPr id="0" name=""/>
        <dsp:cNvSpPr/>
      </dsp:nvSpPr>
      <dsp:spPr>
        <a:xfrm rot="5400000">
          <a:off x="5649888" y="2712739"/>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136067"/>
        <a:ext cx="3704749" cy="907169"/>
      </dsp:txXfrm>
    </dsp:sp>
    <dsp:sp modelId="{C971C0CD-D6D6-4BD2-B517-483DD2B85EA0}">
      <dsp:nvSpPr>
        <dsp:cNvPr id="0" name=""/>
        <dsp:cNvSpPr/>
      </dsp:nvSpPr>
      <dsp:spPr>
        <a:xfrm>
          <a:off x="111" y="3961326"/>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a:latin typeface="+mj-lt"/>
            </a:rPr>
            <a:t>Deployment</a:t>
          </a:r>
        </a:p>
      </dsp:txBody>
      <dsp:txXfrm>
        <a:off x="61456" y="4022671"/>
        <a:ext cx="4152834" cy="1133961"/>
      </dsp:txXfrm>
    </dsp:sp>
    <dsp:sp modelId="{E36319A3-4DDD-4596-A48B-3AFC2FB82E08}">
      <dsp:nvSpPr>
        <dsp:cNvPr id="0" name=""/>
        <dsp:cNvSpPr/>
      </dsp:nvSpPr>
      <dsp:spPr>
        <a:xfrm rot="5400000">
          <a:off x="5649888" y="4032223"/>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Testing and Validation</a:t>
          </a:r>
        </a:p>
        <a:p>
          <a:pPr marL="228600" lvl="1" indent="-228600" algn="l" defTabSz="889000">
            <a:lnSpc>
              <a:spcPct val="90000"/>
            </a:lnSpc>
            <a:spcBef>
              <a:spcPct val="0"/>
            </a:spcBef>
            <a:spcAft>
              <a:spcPct val="15000"/>
            </a:spcAft>
            <a:buChar char="•"/>
          </a:pPr>
          <a:r>
            <a:rPr lang="en-US" sz="2000" kern="1200" dirty="0">
              <a:latin typeface="+mj-lt"/>
            </a:rPr>
            <a:t>Handoff</a:t>
          </a:r>
        </a:p>
        <a:p>
          <a:pPr marL="228600" lvl="1" indent="-228600" algn="l" defTabSz="889000">
            <a:lnSpc>
              <a:spcPct val="90000"/>
            </a:lnSpc>
            <a:spcBef>
              <a:spcPct val="0"/>
            </a:spcBef>
            <a:spcAft>
              <a:spcPct val="15000"/>
            </a:spcAft>
            <a:buChar char="•"/>
          </a:pPr>
          <a:r>
            <a:rPr lang="en-US" sz="2000" kern="1200" dirty="0">
              <a:latin typeface="+mj-lt"/>
            </a:rPr>
            <a:t>Re-train and re-score</a:t>
          </a:r>
        </a:p>
      </dsp:txBody>
      <dsp:txXfrm rot="-5400000">
        <a:off x="4275636" y="5455551"/>
        <a:ext cx="3704749" cy="907169"/>
      </dsp:txXfrm>
    </dsp:sp>
    <dsp:sp modelId="{C5DBDEB5-64EF-486D-ADE8-9AD2774135B2}">
      <dsp:nvSpPr>
        <dsp:cNvPr id="0" name=""/>
        <dsp:cNvSpPr/>
      </dsp:nvSpPr>
      <dsp:spPr>
        <a:xfrm>
          <a:off x="111" y="5280810"/>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a:latin typeface="+mj-lt"/>
            </a:rPr>
            <a:t>Customer Acceptance</a:t>
          </a:r>
        </a:p>
      </dsp:txBody>
      <dsp:txXfrm>
        <a:off x="61456" y="5342155"/>
        <a:ext cx="4152834" cy="1133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Cortana, Cognitive Services, Bot Framework</a:t>
          </a:r>
        </a:p>
      </dsp:txBody>
      <dsp:txXfrm>
        <a:off x="1675952" y="0"/>
        <a:ext cx="6425008" cy="557603"/>
      </dsp:txXfrm>
    </dsp:sp>
    <dsp:sp modelId="{36A321AB-B414-459A-92C0-C559ED15EF30}">
      <dsp:nvSpPr>
        <dsp:cNvPr id="0" name=""/>
        <dsp:cNvSpPr/>
      </dsp:nvSpPr>
      <dsp:spPr>
        <a:xfrm>
          <a:off x="46598" y="53364"/>
          <a:ext cx="974626" cy="446083"/>
        </a:xfrm>
        <a:prstGeom prst="roundRect">
          <a:avLst>
            <a:gd name="adj" fmla="val 10000"/>
          </a:avLst>
        </a:prstGeom>
        <a:blipFill rotWithShape="1">
          <a:blip xmlns:r="http://schemas.openxmlformats.org/officeDocument/2006/relationships" r:embed="rId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13364"/>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Power BI</a:t>
          </a:r>
        </a:p>
      </dsp:txBody>
      <dsp:txXfrm>
        <a:off x="1675952" y="613364"/>
        <a:ext cx="6425008" cy="557603"/>
      </dsp:txXfrm>
    </dsp:sp>
    <dsp:sp modelId="{49D4FFC3-C990-4FEA-ADFC-9F2B001FE866}">
      <dsp:nvSpPr>
        <dsp:cNvPr id="0" name=""/>
        <dsp:cNvSpPr/>
      </dsp:nvSpPr>
      <dsp:spPr>
        <a:xfrm>
          <a:off x="46598" y="666729"/>
          <a:ext cx="974626" cy="446083"/>
        </a:xfrm>
        <a:prstGeom prst="roundRect">
          <a:avLst>
            <a:gd name="adj" fmla="val 10000"/>
          </a:avLst>
        </a:prstGeom>
        <a:blipFill rotWithShape="1">
          <a:blip xmlns:r="http://schemas.openxmlformats.org/officeDocument/2006/relationships" r:embed="rId2"/>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2672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Stream Analytics</a:t>
          </a:r>
        </a:p>
      </dsp:txBody>
      <dsp:txXfrm>
        <a:off x="1675952" y="1226728"/>
        <a:ext cx="6425008" cy="557603"/>
      </dsp:txXfrm>
    </dsp:sp>
    <dsp:sp modelId="{1DF032E0-13E8-404C-A3CD-F57FFFAF656E}">
      <dsp:nvSpPr>
        <dsp:cNvPr id="0" name=""/>
        <dsp:cNvSpPr/>
      </dsp:nvSpPr>
      <dsp:spPr>
        <a:xfrm>
          <a:off x="46598" y="1280093"/>
          <a:ext cx="974626" cy="446083"/>
        </a:xfrm>
        <a:prstGeom prst="roundRect">
          <a:avLst>
            <a:gd name="adj" fmla="val 10000"/>
          </a:avLst>
        </a:prstGeom>
        <a:blipFill rotWithShape="1">
          <a:blip xmlns:r="http://schemas.openxmlformats.org/officeDocument/2006/relationships" r:embed="rId3"/>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4009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HDInsight</a:t>
          </a:r>
        </a:p>
      </dsp:txBody>
      <dsp:txXfrm>
        <a:off x="1675952" y="1840092"/>
        <a:ext cx="6425008" cy="557603"/>
      </dsp:txXfrm>
    </dsp:sp>
    <dsp:sp modelId="{EB1CC876-66DD-4A75-B47F-79507A427898}">
      <dsp:nvSpPr>
        <dsp:cNvPr id="0" name=""/>
        <dsp:cNvSpPr/>
      </dsp:nvSpPr>
      <dsp:spPr>
        <a:xfrm>
          <a:off x="46598" y="1893457"/>
          <a:ext cx="974626" cy="446083"/>
        </a:xfrm>
        <a:prstGeom prst="roundRect">
          <a:avLst>
            <a:gd name="adj" fmla="val 10000"/>
          </a:avLst>
        </a:prstGeom>
        <a:blipFill rotWithShape="1">
          <a:blip xmlns:r="http://schemas.openxmlformats.org/officeDocument/2006/relationships" r:embed="rId4"/>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53456"/>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Azure Machine Learning (MRS)</a:t>
          </a:r>
        </a:p>
      </dsp:txBody>
      <dsp:txXfrm>
        <a:off x="1675952" y="2453456"/>
        <a:ext cx="6425008" cy="557603"/>
      </dsp:txXfrm>
    </dsp:sp>
    <dsp:sp modelId="{950174B9-C3EC-407B-9908-DBD126F0CF41}">
      <dsp:nvSpPr>
        <dsp:cNvPr id="0" name=""/>
        <dsp:cNvSpPr/>
      </dsp:nvSpPr>
      <dsp:spPr>
        <a:xfrm>
          <a:off x="46598" y="2506821"/>
          <a:ext cx="974626" cy="446083"/>
        </a:xfrm>
        <a:prstGeom prst="roundRect">
          <a:avLst>
            <a:gd name="adj" fmla="val 10000"/>
          </a:avLst>
        </a:prstGeom>
        <a:blipFill rotWithShape="1">
          <a:blip xmlns:r="http://schemas.openxmlformats.org/officeDocument/2006/relationships" r:embed="rId5"/>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66821"/>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SQL Data Warehouse (SQL DB, Document DB)</a:t>
          </a:r>
        </a:p>
      </dsp:txBody>
      <dsp:txXfrm>
        <a:off x="1675952" y="3066821"/>
        <a:ext cx="6425008" cy="557603"/>
      </dsp:txXfrm>
    </dsp:sp>
    <dsp:sp modelId="{652C01DF-6697-4345-A0E8-6D9D71FC067D}">
      <dsp:nvSpPr>
        <dsp:cNvPr id="0" name=""/>
        <dsp:cNvSpPr/>
      </dsp:nvSpPr>
      <dsp:spPr>
        <a:xfrm>
          <a:off x="46598" y="3120186"/>
          <a:ext cx="974626" cy="446083"/>
        </a:xfrm>
        <a:prstGeom prst="roundRect">
          <a:avLst>
            <a:gd name="adj" fmla="val 10000"/>
          </a:avLst>
        </a:prstGeom>
        <a:blipFill rotWithShape="1">
          <a:blip xmlns:r="http://schemas.openxmlformats.org/officeDocument/2006/relationships" r:embed="rId6"/>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80185"/>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Data Lake</a:t>
          </a:r>
        </a:p>
      </dsp:txBody>
      <dsp:txXfrm>
        <a:off x="1675952" y="3680185"/>
        <a:ext cx="6425008" cy="557603"/>
      </dsp:txXfrm>
    </dsp:sp>
    <dsp:sp modelId="{3D67FE96-9C43-493B-A35A-BE8C89C56380}">
      <dsp:nvSpPr>
        <dsp:cNvPr id="0" name=""/>
        <dsp:cNvSpPr/>
      </dsp:nvSpPr>
      <dsp:spPr>
        <a:xfrm>
          <a:off x="56319" y="3723834"/>
          <a:ext cx="974626" cy="446083"/>
        </a:xfrm>
        <a:prstGeom prst="roundRect">
          <a:avLst>
            <a:gd name="adj" fmla="val 10000"/>
          </a:avLst>
        </a:prstGeom>
        <a:blipFill rotWithShape="1">
          <a:blip xmlns:r="http://schemas.openxmlformats.org/officeDocument/2006/relationships" r:embed="rId7"/>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93549"/>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Event Hubs</a:t>
          </a:r>
        </a:p>
      </dsp:txBody>
      <dsp:txXfrm>
        <a:off x="1675952" y="4293549"/>
        <a:ext cx="6425008" cy="557603"/>
      </dsp:txXfrm>
    </dsp:sp>
    <dsp:sp modelId="{2B57F23D-5CBE-4272-A6F4-7FAA825DD5F1}">
      <dsp:nvSpPr>
        <dsp:cNvPr id="0" name=""/>
        <dsp:cNvSpPr/>
      </dsp:nvSpPr>
      <dsp:spPr>
        <a:xfrm>
          <a:off x="46598" y="4337198"/>
          <a:ext cx="974626" cy="446083"/>
        </a:xfrm>
        <a:prstGeom prst="roundRect">
          <a:avLst>
            <a:gd name="adj" fmla="val 10000"/>
          </a:avLst>
        </a:prstGeom>
        <a:blipFill rotWithShape="1">
          <a:blip xmlns:r="http://schemas.openxmlformats.org/officeDocument/2006/relationships" r:embed="rId8"/>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906913"/>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Data Factory</a:t>
          </a:r>
        </a:p>
      </dsp:txBody>
      <dsp:txXfrm>
        <a:off x="1675952" y="4906913"/>
        <a:ext cx="6425008" cy="557603"/>
      </dsp:txXfrm>
    </dsp:sp>
    <dsp:sp modelId="{345EE191-2927-4C04-BBA1-919BF1F7941C}">
      <dsp:nvSpPr>
        <dsp:cNvPr id="0" name=""/>
        <dsp:cNvSpPr/>
      </dsp:nvSpPr>
      <dsp:spPr>
        <a:xfrm>
          <a:off x="46598" y="4960278"/>
          <a:ext cx="974626" cy="446083"/>
        </a:xfrm>
        <a:prstGeom prst="roundRect">
          <a:avLst>
            <a:gd name="adj" fmla="val 10000"/>
          </a:avLst>
        </a:prstGeom>
        <a:blipFill rotWithShape="1">
          <a:blip xmlns:r="http://schemas.openxmlformats.org/officeDocument/2006/relationships" r:embed="rId9"/>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52027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Data Catalog</a:t>
          </a:r>
        </a:p>
      </dsp:txBody>
      <dsp:txXfrm>
        <a:off x="1675952" y="5520278"/>
        <a:ext cx="6425008" cy="557603"/>
      </dsp:txXfrm>
    </dsp:sp>
    <dsp:sp modelId="{D2F6CFBC-E310-4008-BC7E-CB6B12D9A319}">
      <dsp:nvSpPr>
        <dsp:cNvPr id="0" name=""/>
        <dsp:cNvSpPr/>
      </dsp:nvSpPr>
      <dsp:spPr>
        <a:xfrm>
          <a:off x="46598" y="5573643"/>
          <a:ext cx="974626" cy="446083"/>
        </a:xfrm>
        <a:prstGeom prst="roundRect">
          <a:avLst>
            <a:gd name="adj" fmla="val 10000"/>
          </a:avLst>
        </a:prstGeom>
        <a:blipFill rotWithShape="1">
          <a:blip xmlns:r="http://schemas.openxmlformats.org/officeDocument/2006/relationships" r:embed="rId10"/>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13364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Microsoft Azure</a:t>
          </a:r>
        </a:p>
      </dsp:txBody>
      <dsp:txXfrm>
        <a:off x="1675952" y="6133642"/>
        <a:ext cx="6425008" cy="557603"/>
      </dsp:txXfrm>
    </dsp:sp>
    <dsp:sp modelId="{B2B9AF7E-0611-4D90-B154-64C9BDFC0B76}">
      <dsp:nvSpPr>
        <dsp:cNvPr id="0" name=""/>
        <dsp:cNvSpPr/>
      </dsp:nvSpPr>
      <dsp:spPr>
        <a:xfrm>
          <a:off x="46598" y="6187007"/>
          <a:ext cx="974626" cy="446083"/>
        </a:xfrm>
        <a:prstGeom prst="roundRect">
          <a:avLst>
            <a:gd name="adj" fmla="val 10000"/>
          </a:avLst>
        </a:prstGeom>
        <a:blipFill rotWithShape="1">
          <a:blip xmlns:r="http://schemas.openxmlformats.org/officeDocument/2006/relationships" r:embed="rId1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4/4/17 5:14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 Id="rId2" Type="http://schemas.openxmlformats.org/officeDocument/2006/relationships/image" Target="../media/image16.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4321432"/>
            <a:ext cx="6096000" cy="413676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8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 Id="rId3" Type="http://schemas.openxmlformats.org/officeDocument/2006/relationships/hyperlink" Target="http://cortanaanalytics.com/" TargetMode="Externa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azure.microsoft.com/en-us/services/hdinsight/" TargetMode="External"/><Relationship Id="rId4" Type="http://schemas.openxmlformats.org/officeDocument/2006/relationships/hyperlink" Target="https://azure.microsoft.com/en-us/documentation/articles/hdinsight-hadoop-introduction/" TargetMode="External"/><Relationship Id="rId5" Type="http://schemas.openxmlformats.org/officeDocument/2006/relationships/hyperlink" Target="https://www.edx.org/course/processing-big-data-azure-hdinsight-microsoft-dat202-1x" TargetMode="External"/><Relationship Id="rId6" Type="http://schemas.openxmlformats.org/officeDocument/2006/relationships/hyperlink" Target="https://channel9.msdn.com/Series/Getting-started-with-Windows-Azure-HDInsight-Service/Introduction-To-Windows-Azure-HDInsight-Service" TargetMode="External"/><Relationship Id="rId7" Type="http://schemas.openxmlformats.org/officeDocument/2006/relationships/hyperlink" Target="https://mva.microsoft.com/en-US/training-courses/big-data-analytics-with-hdinsight-hadoop-on-azure-10551?l=UJ7MAv97_5804984382" TargetMode="External"/><Relationship Id="rId8" Type="http://schemas.openxmlformats.org/officeDocument/2006/relationships/hyperlink" Target="https://azure.microsoft.com/en-us/documentation/learning-paths/hdinsight-self-guided-hadoop-training/" TargetMode="External"/><Relationship Id="rId9" Type="http://schemas.openxmlformats.org/officeDocument/2006/relationships/hyperlink" Target="https://msdn.microsoft.com/en-us/library/mt146770(v=sql.130).aspx" TargetMode="External"/><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azure.microsoft.com/en-us/documentation/articles/hdinsight-hadoop-introduction/" TargetMode="External"/><Relationship Id="rId4" Type="http://schemas.openxmlformats.org/officeDocument/2006/relationships/hyperlink" Target="http://hadoop.apache.org/" TargetMode="External"/><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hortonworks.com/hadoop-tutorial/hello-world-an-introduction-to-hadoop-hcatalog-hive-and-pig/" TargetMode="External"/><Relationship Id="rId4" Type="http://schemas.openxmlformats.org/officeDocument/2006/relationships/hyperlink" Target="http://www.datasciencecentral.com/profiles/blogs/hadoop-herd-when-to-use-what" TargetMode="External"/><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azure.microsoft.com/en-us/documentation/services/hdinsight/" TargetMode="External"/><Relationship Id="rId4" Type="http://schemas.openxmlformats.org/officeDocument/2006/relationships/hyperlink" Target="https://azure.microsoft.com/en-us/pricing/details/hdinsight/" TargetMode="External"/><Relationship Id="rId5" Type="http://schemas.openxmlformats.org/officeDocument/2006/relationships/hyperlink" Target="https://azure.microsoft.com/en-us/documentation/articles/data-factory-compute-linked-services/#azure-hdinsight-on-demand-linked-service" TargetMode="External"/><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azure.portal.com/" TargetMode="External"/><Relationship Id="rId4" Type="http://schemas.openxmlformats.org/officeDocument/2006/relationships/hyperlink" Target="https://azure.microsoft.com/en-us/documentation/articles/hdinsight-provision-clusters/" TargetMode="External"/><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azure.microsoft.com/en-us/documentation/articles/hdinsight-use-hive/" TargetMode="External"/><Relationship Id="rId4" Type="http://schemas.openxmlformats.org/officeDocument/2006/relationships/hyperlink" Target="https://msdn.microsoft.com/en-us/library/dn749875.aspx?f=255&amp;MSPPError=-2147217396" TargetMode="External"/><Relationship Id="rId5" Type="http://schemas.openxmlformats.org/officeDocument/2006/relationships/hyperlink" Target="https://azure.microsoft.com/en-us/documentation/articles/hdinsight-use-hive/#usetez" TargetMode="External"/><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azure.microsoft.com/en-us/documentation/articles/hdinsight-use-hive/" TargetMode="External"/><Relationship Id="rId4" Type="http://schemas.openxmlformats.org/officeDocument/2006/relationships/hyperlink" Target="https://msdn.microsoft.com/en-us/library/dn749875.aspx?f=255&amp;MSPPError=-2147217396" TargetMode="External"/><Relationship Id="rId5" Type="http://schemas.openxmlformats.org/officeDocument/2006/relationships/hyperlink" Target="https://azure.microsoft.com/en-us/documentation/articles/hdinsight-use-hive/#usetez" TargetMode="External"/><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 Id="rId3" Type="http://schemas.openxmlformats.org/officeDocument/2006/relationships/hyperlink" Target="https://azure.microsoft.com/en-us/documentation/articles/hdinsight-connect-excel-hive-odbc-driver/" TargetMode="Externa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 Id="rId3" Type="http://schemas.openxmlformats.org/officeDocument/2006/relationships/hyperlink" Target="https://www.dezyre.com/hadoop-tutorial/apache-hive-tutorial-tables" TargetMode="Externa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azure.microsoft.com/en-us/services/data-factory/" TargetMode="External"/><Relationship Id="rId4" Type="http://schemas.openxmlformats.org/officeDocument/2006/relationships/hyperlink" Target="https://channel9.msdn.com/Blogs/Windows-Azure/Introduction-to-Azure-Data-Factory/" TargetMode="External"/><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azure.microsoft.com/en-us/documentation/articles/data-factory-introduction/" TargetMode="External"/><Relationship Id="rId4" Type="http://schemas.openxmlformats.org/officeDocument/2006/relationships/hyperlink" Target="https://msdn.microsoft.com/en-us/library/azure/dn834987.aspx" TargetMode="External"/><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 Id="rId3" Type="http://schemas.openxmlformats.org/officeDocument/2006/relationships/hyperlink" Target="https://azure.microsoft.com/en-us/pricing/details/data-factory/" TargetMode="Externa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azure.microsoft.com/en-us/documentation/articles/data-factory-introduction/" TargetMode="External"/><Relationship Id="rId4" Type="http://schemas.openxmlformats.org/officeDocument/2006/relationships/hyperlink" Target="http://azure.microsoft.com/blog/2015/04/24/azure-data-factory-update-simplified-sample-deployment/" TargetMode="External"/><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 Id="rId3" Type="http://schemas.openxmlformats.org/officeDocument/2006/relationships/hyperlink" Target="https://azure.microsoft.com/en-us/documentation/articles/data-factory-build-your-first-pipeline/" TargetMode="Externa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 Id="rId3" Type="http://schemas.openxmlformats.org/officeDocument/2006/relationships/hyperlink" Target="https://azure.microsoft.com/en-us/documentation/articles/data-factory-customer-profiling-usecase/" TargetMode="Externa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 Id="rId3" Type="http://schemas.openxmlformats.org/officeDocument/2006/relationships/hyperlink" Target="https://azure.microsoft.com/en-us/documentation/videos/azure-data-factory-102-analyzing-complex-churn-models-with-azure-data-factory/" TargetMode="Externa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using-editor/" TargetMode="External"/><Relationship Id="rId4" Type="http://schemas.openxmlformats.org/officeDocument/2006/relationships/hyperlink" Target="https://azure.microsoft.com/en-us/documentation/articles/data-factory-samples/" TargetMode="External"/><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 Id="rId3" Type="http://schemas.openxmlformats.org/officeDocument/2006/relationships/hyperlink" Target="https://azure.microsoft.com/en-us/documentation/articles/data-factory-build-your-first-pipeline/" TargetMode="Externa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 TargetMode="External"/><Relationship Id="rId4" Type="http://schemas.openxmlformats.org/officeDocument/2006/relationships/hyperlink" Target="https://azure.microsoft.com/en-us/documentation/articles/data-factory-build-your-first-pipeline-using-editor/" TargetMode="External"/><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azure.microsoft.com/en-us/documentation/articles/data-factory-introduction/" TargetMode="External"/><Relationship Id="rId4" Type="http://schemas.openxmlformats.org/officeDocument/2006/relationships/hyperlink" Target="https://azure.microsoft.com/en-us/documentation/articles/data-factory-build-your-first-pipeline/" TargetMode="External"/><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 Id="rId3" Type="http://schemas.openxmlformats.org/officeDocument/2006/relationships/hyperlink" Target="https://azure.microsoft.com/en-us/documentation/articles/data-factory-build-your-first-pipeline-using-powershell/" TargetMode="Externa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 TargetMode="External"/><Relationship Id="rId4" Type="http://schemas.openxmlformats.org/officeDocument/2006/relationships/hyperlink" Target="https://azure.microsoft.com/en-us/documentation/articles/data-factory-build-your-first-pipeline-using-editor/" TargetMode="External"/><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 Id="rId3" Type="http://schemas.openxmlformats.org/officeDocument/2006/relationships/hyperlink" Target="http://www.jsoneditoronline.org/" TargetMode="Externa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azure.microsoft.com/en-us/documentation/articles/data-factory-data-movement-activities/" TargetMode="External"/><Relationship Id="rId4" Type="http://schemas.openxmlformats.org/officeDocument/2006/relationships/hyperlink" Target="https://azure.microsoft.com/en-us/documentation/articles/data-factory-compute-linked-services/" TargetMode="External"/><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azure.microsoft.com/en-us/documentation/articles/data-factory-data-movement-activities/" TargetMode="External"/><Relationship Id="rId4" Type="http://schemas.openxmlformats.org/officeDocument/2006/relationships/hyperlink" Target="https://azure.microsoft.com/en-us/documentation/articles/data-factory-move-data-between-onprem-and-cloud/" TargetMode="External"/><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 Id="rId3" Type="http://schemas.openxmlformats.org/officeDocument/2006/relationships/hyperlink" Target="https://azure.microsoft.com/en-us/documentation/articles/data-factory-data-transformation-activities/" TargetMode="Externa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 Id="rId3" Type="http://schemas.openxmlformats.org/officeDocument/2006/relationships/hyperlink" Target="https://azure.microsoft.com/en-us/documentation/articles/data-factory-create-pipelines/" TargetMode="Externa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 Id="rId3" Type="http://schemas.openxmlformats.org/officeDocument/2006/relationships/hyperlink" Target="https://azure.microsoft.com/en-us/documentation/articles/data-factory-create-datasets/" TargetMode="Externa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 Id="rId3" Type="http://schemas.openxmlformats.org/officeDocument/2006/relationships/hyperlink" Target="https://azure.microsoft.com/en-us/documentation/articles/data-factory-build-your-first-pipeline-using-editor/"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sv-europe.com/crisp-dm-methodology/" TargetMode="External"/><Relationship Id="rId4" Type="http://schemas.openxmlformats.org/officeDocument/2006/relationships/hyperlink" Target="https://azure.microsoft.com/en-us/documentation/articles/data-science-process-overview/" TargetMode="External"/><Relationship Id="rId5" Type="http://schemas.openxmlformats.org/officeDocument/2006/relationships/hyperlink" Target="https://azure.microsoft.com/en-us/documentation/learning-paths/cortana-analytics-process/" TargetMode="External"/><Relationship Id="rId6" Type="http://schemas.openxmlformats.org/officeDocument/2006/relationships/hyperlink" Target="https://azure.microsoft.com/en-us/documentation/articles/data-science-process-walkthroughs/" TargetMode="External"/><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 Id="rId3" Type="http://schemas.openxmlformats.org/officeDocument/2006/relationships/hyperlink" Target="https://azure.microsoft.com/en-us/documentation/articles/data-factory-create-pipelines/" TargetMode="Externa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using-editor/" TargetMode="External"/><Relationship Id="rId4" Type="http://schemas.openxmlformats.org/officeDocument/2006/relationships/hyperlink" Target="https://azure.microsoft.com/en-us/documentation/articles/data-factory-create-pipelines/" TargetMode="External"/><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 Id="rId3" Type="http://schemas.openxmlformats.org/officeDocument/2006/relationships/hyperlink" Target="https://azure.microsoft.com/en-us/documentation/articles/data-factory-monitor-manage-pipelines/" TargetMode="Externa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 Id="rId3" Type="http://schemas.openxmlformats.org/officeDocument/2006/relationships/hyperlink" Target="http://blogs.msdn.com/b/karang/archive/2015/11/13/azure-data-factory-detecting-and-re-running-failed-adf-slices.aspx" TargetMode="Externa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 Id="rId3" Type="http://schemas.openxmlformats.org/officeDocument/2006/relationships/hyperlink" Target="http://blogs.msdn.com/b/karang/archive/2015/11/13/azure-data-factory-detecting-and-re-running-failed-adf-slices.aspx" TargetMode="Externa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9" Type="http://schemas.openxmlformats.org/officeDocument/2006/relationships/hyperlink" Target="https://azure.microsoft.com/en-us/services/documentdb/" TargetMode="External"/><Relationship Id="rId20" Type="http://schemas.openxmlformats.org/officeDocument/2006/relationships/hyperlink" Target="https://www.microsoft.com/en-us/server-cloud/cortana-intelligence-suite/what-is-cortana-intelligence.aspx" TargetMode="External"/><Relationship Id="rId21" Type="http://schemas.openxmlformats.org/officeDocument/2006/relationships/hyperlink" Target="https://gallery.cortanaintelligence.com/" TargetMode="External"/><Relationship Id="rId22" Type="http://schemas.openxmlformats.org/officeDocument/2006/relationships/hyperlink" Target="https://caqs.azure.net/#gallery" TargetMode="External"/><Relationship Id="rId10" Type="http://schemas.openxmlformats.org/officeDocument/2006/relationships/hyperlink" Target="http://azure.microsoft.com/en-us/services/sql-data-warehouse/" TargetMode="External"/><Relationship Id="rId11" Type="http://schemas.openxmlformats.org/officeDocument/2006/relationships/hyperlink" Target="http://azure.microsoft.com/en-us/services/machine-learning/" TargetMode="External"/><Relationship Id="rId12" Type="http://schemas.openxmlformats.org/officeDocument/2006/relationships/hyperlink" Target="http://azure.microsoft.com/en-us/services/hdinsight/" TargetMode="External"/><Relationship Id="rId13" Type="http://schemas.openxmlformats.org/officeDocument/2006/relationships/hyperlink" Target="http://azure.microsoft.com/en-us/services/stream-analytics/" TargetMode="External"/><Relationship Id="rId14" Type="http://schemas.openxmlformats.org/officeDocument/2006/relationships/hyperlink" Target="https://powerbi.microsoft.com/" TargetMode="External"/><Relationship Id="rId15" Type="http://schemas.openxmlformats.org/officeDocument/2006/relationships/hyperlink" Target="http://blogs.windows.com/buildingapps/2014/09/23/cortana-integration-and-speech-recognition-new-code-samples/" TargetMode="External"/><Relationship Id="rId16" Type="http://schemas.openxmlformats.org/officeDocument/2006/relationships/hyperlink" Target="https://blogs.windows.com/buildingapps/2015/08/25/using-cortana-to-interact-with-your-customers-10-by-10/" TargetMode="External"/><Relationship Id="rId17" Type="http://schemas.openxmlformats.org/officeDocument/2006/relationships/hyperlink" Target="https://developer.microsoft.com/en-us/Cortana" TargetMode="External"/><Relationship Id="rId18" Type="http://schemas.openxmlformats.org/officeDocument/2006/relationships/hyperlink" Target="https://www.microsoft.com/cognitive-services" TargetMode="External"/><Relationship Id="rId19" Type="http://schemas.openxmlformats.org/officeDocument/2006/relationships/hyperlink" Target="https://dev.botframework.com/" TargetMode="External"/><Relationship Id="rId1" Type="http://schemas.openxmlformats.org/officeDocument/2006/relationships/notesMaster" Target="../notesMasters/notesMaster1.xml"/><Relationship Id="rId2" Type="http://schemas.openxmlformats.org/officeDocument/2006/relationships/slide" Target="../slides/slide5.xml"/><Relationship Id="rId3" Type="http://schemas.openxmlformats.org/officeDocument/2006/relationships/hyperlink" Target="http://microsoftazure.com/" TargetMode="External"/><Relationship Id="rId4" Type="http://schemas.openxmlformats.org/officeDocument/2006/relationships/hyperlink" Target="https://azure.microsoft.com/en-us/documentation/services/storage/" TargetMode="External"/><Relationship Id="rId5" Type="http://schemas.openxmlformats.org/officeDocument/2006/relationships/hyperlink" Target="http://azure.microsoft.com/en-us/services/data-catalog" TargetMode="External"/><Relationship Id="rId6" Type="http://schemas.openxmlformats.org/officeDocument/2006/relationships/hyperlink" Target="http://azure.microsoft.com/en-us/services/data-factory/" TargetMode="External"/><Relationship Id="rId7" Type="http://schemas.openxmlformats.org/officeDocument/2006/relationships/hyperlink" Target="http://azure.microsoft.com/en-us/services/event-hubs/" TargetMode="External"/><Relationship Id="rId8" Type="http://schemas.openxmlformats.org/officeDocument/2006/relationships/hyperlink" Target="http://azure.microsoft.com/en-us/campaigns/data-lake/" TargetMode="Externa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 Id="rId3" Type="http://schemas.openxmlformats.org/officeDocument/2006/relationships/hyperlink" Target="https://www.microsoft.com/en-us/cloud-platform/cortana-intelligence-suite-industry-solutions" TargetMode="Externa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 Id="rId3" Type="http://schemas.openxmlformats.org/officeDocument/2006/relationships/hyperlink" Target="https://technet.microsoft.com/en-us/library/ms124438(v=sql.100).aspx" TargetMode="Externa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 Id="rId3" Type="http://schemas.openxmlformats.org/officeDocument/2006/relationships/hyperlink" Target="https://technet.microsoft.com/en-us/library/ms124438(v=sql.100).aspx" TargetMode="Externa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 Id="rId3" Type="http://schemas.openxmlformats.org/officeDocument/2006/relationships/hyperlink" Target="https://msdn.microsoft.com/en-us/library/dn749822.aspx"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page: </a:t>
            </a:r>
            <a:r>
              <a:rPr lang="en-US" sz="1800" baseline="0" dirty="0">
                <a:hlinkClick r:id="rId3"/>
              </a:rPr>
              <a:t>http://cortanaanalytics.com</a:t>
            </a:r>
            <a:r>
              <a:rPr lang="en-US" sz="1800" baseline="0" dirty="0"/>
              <a:t> </a:t>
            </a:r>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39772606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0999" y="4343400"/>
            <a:ext cx="6317255" cy="4492128"/>
          </a:xfrm>
        </p:spPr>
        <p:txBody>
          <a:bodyPr/>
          <a:lstStyle/>
          <a:p>
            <a:pPr marL="228600" indent="-228600">
              <a:buFont typeface="+mj-lt"/>
              <a:buAutoNum type="arabicPeriod"/>
            </a:pPr>
            <a:r>
              <a:rPr lang="en-US" sz="1400" dirty="0"/>
              <a:t>Primary site: </a:t>
            </a:r>
            <a:r>
              <a:rPr lang="en-US" sz="1400" dirty="0">
                <a:hlinkClick r:id="rId3"/>
              </a:rPr>
              <a:t>https://azure.microsoft.com/en-us/services/hdinsight/</a:t>
            </a:r>
            <a:r>
              <a:rPr lang="en-US" sz="1400" dirty="0"/>
              <a:t> </a:t>
            </a:r>
          </a:p>
          <a:p>
            <a:pPr marL="228600" indent="-228600">
              <a:buFont typeface="+mj-lt"/>
              <a:buAutoNum type="arabicPeriod"/>
            </a:pPr>
            <a:r>
              <a:rPr lang="en-US" sz="1400" dirty="0"/>
              <a:t>Quick</a:t>
            </a:r>
            <a:r>
              <a:rPr lang="en-US" sz="1400" baseline="0" dirty="0"/>
              <a:t> overview: </a:t>
            </a:r>
            <a:r>
              <a:rPr lang="en-US" sz="1400" baseline="0" dirty="0">
                <a:hlinkClick r:id="rId4"/>
              </a:rPr>
              <a:t>https://azure.microsoft.com/en-us/documentation/articles/hdinsight-hadoop-introduction/</a:t>
            </a:r>
            <a:r>
              <a:rPr lang="en-US" sz="1400" baseline="0" dirty="0"/>
              <a:t> </a:t>
            </a:r>
          </a:p>
          <a:p>
            <a:pPr marL="228600" indent="-228600">
              <a:buFont typeface="+mj-lt"/>
              <a:buAutoNum type="arabicPeriod"/>
            </a:pPr>
            <a:r>
              <a:rPr lang="en-US" sz="1400" baseline="0" dirty="0"/>
              <a:t>4-week online course through the </a:t>
            </a:r>
            <a:r>
              <a:rPr lang="en-US" sz="1400" baseline="0" dirty="0" err="1"/>
              <a:t>edX</a:t>
            </a:r>
            <a:r>
              <a:rPr lang="en-US" sz="1400" baseline="0" dirty="0"/>
              <a:t> platform: </a:t>
            </a:r>
            <a:r>
              <a:rPr lang="en-US" sz="1400" baseline="0" dirty="0">
                <a:hlinkClick r:id="rId5"/>
              </a:rPr>
              <a:t>https://www.edx.org/course/processing-big-data-azure-hdinsight-microsoft-dat202-1x</a:t>
            </a:r>
            <a:r>
              <a:rPr lang="en-US" sz="1400" baseline="0" dirty="0"/>
              <a:t> </a:t>
            </a:r>
          </a:p>
          <a:p>
            <a:pPr marL="228600" indent="-228600">
              <a:buFont typeface="+mj-lt"/>
              <a:buAutoNum type="arabicPeriod"/>
            </a:pPr>
            <a:r>
              <a:rPr lang="en-US" sz="1400" baseline="0" dirty="0"/>
              <a:t>11 minute introductory video: </a:t>
            </a:r>
            <a:r>
              <a:rPr lang="en-US" sz="1400" baseline="0" dirty="0">
                <a:hlinkClick r:id="rId6"/>
              </a:rPr>
              <a:t>https://channel9.msdn.com/Series/Getting-started-with-Windows-Azure-HDInsight-Service/Introduction-To-Windows-Azure-HDInsight-Service</a:t>
            </a:r>
            <a:r>
              <a:rPr lang="en-US" sz="1400" baseline="0" dirty="0"/>
              <a:t> </a:t>
            </a:r>
          </a:p>
          <a:p>
            <a:pPr marL="228600" indent="-228600">
              <a:buFont typeface="+mj-lt"/>
              <a:buAutoNum type="arabicPeriod"/>
            </a:pPr>
            <a:r>
              <a:rPr lang="en-US" sz="1400" baseline="0" dirty="0"/>
              <a:t>Microsoft Virtual Academy Training (4 hours) - </a:t>
            </a:r>
            <a:r>
              <a:rPr lang="en-US" sz="1400" baseline="0" dirty="0">
                <a:hlinkClick r:id="rId7"/>
              </a:rPr>
              <a:t>https://mva.microsoft.com/en-US/training-courses/big-data-analytics-with-hdinsight-hadoop-on-azure-10551?l=UJ7MAv97_5804984382</a:t>
            </a:r>
            <a:r>
              <a:rPr lang="en-US" sz="1400" baseline="0" dirty="0"/>
              <a:t> </a:t>
            </a:r>
          </a:p>
          <a:p>
            <a:pPr marL="228600" indent="-228600">
              <a:buFont typeface="+mj-lt"/>
              <a:buAutoNum type="arabicPeriod"/>
            </a:pPr>
            <a:r>
              <a:rPr lang="en-US" sz="1400" dirty="0"/>
              <a:t>Learning path for</a:t>
            </a:r>
            <a:r>
              <a:rPr lang="en-US" sz="1400" baseline="0" dirty="0"/>
              <a:t> HDInsight: </a:t>
            </a:r>
            <a:r>
              <a:rPr lang="en-US" sz="1400" baseline="0" dirty="0">
                <a:hlinkClick r:id="rId8"/>
              </a:rPr>
              <a:t>https://azure.microsoft.com/en-us/documentation/learning-paths/hdinsight-self-guided-hadoop-training/</a:t>
            </a:r>
            <a:r>
              <a:rPr lang="en-US" sz="1400" baseline="0" dirty="0"/>
              <a:t> </a:t>
            </a:r>
          </a:p>
          <a:p>
            <a:pPr marL="228600" indent="-228600">
              <a:buFont typeface="+mj-lt"/>
              <a:buAutoNum type="arabicPeriod"/>
            </a:pPr>
            <a:r>
              <a:rPr lang="en-US" sz="1400" baseline="0" dirty="0"/>
              <a:t>Azure Feature Pack for SQL Server 2016, i.e., SSIS (SQL Server Integration Services): </a:t>
            </a:r>
            <a:r>
              <a:rPr lang="en-US" sz="1400" baseline="0" dirty="0">
                <a:hlinkClick r:id="rId9"/>
              </a:rPr>
              <a:t>https://msdn.microsoft.com/en-us/library/mt146770(v=sql.130).aspx</a:t>
            </a:r>
            <a:r>
              <a:rPr lang="en-US" sz="1400" baseline="0" dirty="0"/>
              <a:t> </a:t>
            </a:r>
          </a:p>
          <a:p>
            <a:pPr marL="228600" indent="-228600">
              <a:buFont typeface="+mj-lt"/>
              <a:buAutoNum type="arabicPeriod"/>
            </a:pPr>
            <a:endParaRPr lang="en-US" sz="14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37293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342900" indent="-342900">
              <a:buFont typeface="+mj-lt"/>
              <a:buAutoNum type="arabicPeriod"/>
            </a:pPr>
            <a:r>
              <a:rPr lang="en-US" sz="1800" dirty="0"/>
              <a:t>Introduction Document</a:t>
            </a:r>
            <a:r>
              <a:rPr lang="en-US" sz="1800" baseline="0" dirty="0"/>
              <a:t>: </a:t>
            </a:r>
            <a:r>
              <a:rPr lang="en-US" sz="1800" baseline="0" dirty="0">
                <a:hlinkClick r:id="rId3"/>
              </a:rPr>
              <a:t>https://azure.microsoft.com/en-us/documentation/articles/hdinsight-hadoop-introduction/</a:t>
            </a:r>
            <a:r>
              <a:rPr lang="en-US" sz="1800" baseline="0" dirty="0"/>
              <a:t> </a:t>
            </a:r>
          </a:p>
          <a:p>
            <a:pPr marL="342900" indent="-342900">
              <a:buFont typeface="+mj-lt"/>
              <a:buAutoNum type="arabicPeriod"/>
            </a:pPr>
            <a:r>
              <a:rPr lang="en-US" sz="1800" baseline="0" dirty="0"/>
              <a:t>For more information about Hadoop, visit the apache foundation site: </a:t>
            </a:r>
            <a:r>
              <a:rPr lang="en-US" sz="1800" baseline="0" dirty="0">
                <a:hlinkClick r:id="rId4"/>
              </a:rPr>
              <a:t>http://hadoop.apache.org/</a:t>
            </a:r>
            <a:r>
              <a:rPr lang="en-US" sz="1800" baseline="0" dirty="0"/>
              <a:t> </a:t>
            </a:r>
            <a:br>
              <a:rPr lang="en-US" sz="1800" baseline="0" dirty="0"/>
            </a:br>
            <a:endParaRPr lang="en-US" sz="1800" baseline="0" dirty="0"/>
          </a:p>
          <a:p>
            <a:r>
              <a:rPr lang="en-US" sz="1800" baseline="0" dirty="0">
                <a:latin typeface="Segoe UI Light"/>
                <a:cs typeface="Segoe UI Light"/>
              </a:rPr>
              <a:t/>
            </a:r>
            <a:br>
              <a:rPr lang="en-US" sz="1800" baseline="0" dirty="0">
                <a:latin typeface="Segoe UI Light"/>
                <a:cs typeface="Segoe UI Light"/>
              </a:rPr>
            </a:br>
            <a:endParaRPr lang="en-US" sz="1800" baseline="0" dirty="0">
              <a:latin typeface="Segoe UI Light"/>
              <a:cs typeface="Segoe UI Light"/>
            </a:endParaRPr>
          </a:p>
          <a:p>
            <a:r>
              <a:rPr lang="en-US" sz="1800" baseline="0" dirty="0">
                <a:latin typeface="Segoe UI Light"/>
                <a:cs typeface="Segoe UI Light"/>
              </a:rPr>
              <a:t/>
            </a:r>
            <a:br>
              <a:rPr lang="en-US" sz="1800" baseline="0" dirty="0">
                <a:latin typeface="Segoe UI Light"/>
                <a:cs typeface="Segoe UI Light"/>
              </a:rPr>
            </a:br>
            <a:endParaRPr lang="en-US" sz="1800" baseline="0" dirty="0">
              <a:latin typeface="Segoe UI Light"/>
              <a:cs typeface="Segoe UI Light"/>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839153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6288" y="661988"/>
            <a:ext cx="5603875" cy="3151187"/>
          </a:xfrm>
        </p:spPr>
      </p:sp>
      <p:sp>
        <p:nvSpPr>
          <p:cNvPr id="3" name="Notes Placeholder 2"/>
          <p:cNvSpPr>
            <a:spLocks noGrp="1"/>
          </p:cNvSpPr>
          <p:nvPr>
            <p:ph type="body" idx="1"/>
          </p:nvPr>
        </p:nvSpPr>
        <p:spPr>
          <a:xfrm>
            <a:off x="397565" y="4005083"/>
            <a:ext cx="6361043" cy="5245292"/>
          </a:xfrm>
        </p:spPr>
        <p:txBody>
          <a:bodyPr/>
          <a:lstStyle/>
          <a:p>
            <a:pPr marL="177845" indent="-177845" defTabSz="967533" eaLnBrk="1" fontAlgn="auto" hangingPunct="1">
              <a:lnSpc>
                <a:spcPct val="90000"/>
              </a:lnSpc>
              <a:spcBef>
                <a:spcPts val="0"/>
              </a:spcBef>
              <a:spcAft>
                <a:spcPts val="353"/>
              </a:spcAft>
              <a:buFont typeface="Arial" panose="020B0604020202020204" pitchFamily="34" charset="0"/>
              <a:buChar char="•"/>
              <a:defRPr/>
            </a:pPr>
            <a:r>
              <a:rPr lang="en-US" sz="900" dirty="0">
                <a:latin typeface="Segoe UI" pitchFamily="34" charset="0"/>
              </a:rPr>
              <a:t>Full training example for the local HDP Instance: </a:t>
            </a:r>
            <a:r>
              <a:rPr lang="en-US" sz="1700" u="sng" dirty="0">
                <a:latin typeface="Segoe UI Light" pitchFamily="34" charset="0"/>
                <a:ea typeface="+mn-ea"/>
                <a:cs typeface="+mn-cs"/>
                <a:hlinkClick r:id="rId3"/>
              </a:rPr>
              <a:t>http://hortonworks.com/hadoop-tutorial/hello-world-an-introduction-to-hadoop-hcatalog-hive-and-pig/</a:t>
            </a:r>
            <a:r>
              <a:rPr lang="en-US" sz="1700" dirty="0">
                <a:latin typeface="Segoe UI Light" pitchFamily="34" charset="0"/>
                <a:ea typeface="+mn-ea"/>
                <a:cs typeface="+mn-cs"/>
              </a:rPr>
              <a:t> </a:t>
            </a:r>
          </a:p>
          <a:p>
            <a:pPr marL="177845" indent="-177845" defTabSz="967533" eaLnBrk="1" fontAlgn="auto" hangingPunct="1">
              <a:lnSpc>
                <a:spcPct val="90000"/>
              </a:lnSpc>
              <a:spcBef>
                <a:spcPts val="0"/>
              </a:spcBef>
              <a:spcAft>
                <a:spcPts val="353"/>
              </a:spcAft>
              <a:buFont typeface="Arial" panose="020B0604020202020204" pitchFamily="34" charset="0"/>
              <a:buChar char="•"/>
              <a:defRPr/>
            </a:pPr>
            <a:r>
              <a:rPr lang="en-US" sz="1700" dirty="0">
                <a:latin typeface="Segoe UI Light" pitchFamily="34" charset="0"/>
                <a:ea typeface="+mn-ea"/>
                <a:cs typeface="+mn-cs"/>
              </a:rPr>
              <a:t>More detail on the Hadoop Components: </a:t>
            </a:r>
            <a:r>
              <a:rPr lang="en-US" sz="1700" dirty="0">
                <a:latin typeface="Segoe UI Light" pitchFamily="34" charset="0"/>
                <a:ea typeface="+mn-ea"/>
                <a:cs typeface="+mn-cs"/>
                <a:hlinkClick r:id="rId4"/>
              </a:rPr>
              <a:t>http://www.datasciencecentral.com/profiles/blogs/hadoop-herd-when-to-use-what</a:t>
            </a:r>
            <a:r>
              <a:rPr lang="en-US" sz="1700" dirty="0">
                <a:latin typeface="Segoe UI Light" pitchFamily="34" charset="0"/>
                <a:ea typeface="+mn-ea"/>
                <a:cs typeface="+mn-cs"/>
              </a:rPr>
              <a:t>  </a:t>
            </a:r>
            <a:endParaRPr lang="en-IN" sz="900" b="1" dirty="0">
              <a:latin typeface="Segoe UI" pitchFamily="34" charset="0"/>
              <a:ea typeface="+mn-ea"/>
              <a:cs typeface="+mn-cs"/>
            </a:endParaRPr>
          </a:p>
          <a:p>
            <a:pPr marL="177845" indent="-177845" defTabSz="967533" eaLnBrk="1" fontAlgn="auto" hangingPunct="1">
              <a:lnSpc>
                <a:spcPct val="90000"/>
              </a:lnSpc>
              <a:spcBef>
                <a:spcPts val="0"/>
              </a:spcBef>
              <a:spcAft>
                <a:spcPts val="353"/>
              </a:spcAft>
              <a:buFont typeface="Arial" panose="020B0604020202020204" pitchFamily="34" charset="0"/>
              <a:buChar char="•"/>
              <a:defRPr/>
            </a:pPr>
            <a:r>
              <a:rPr lang="en-IN" sz="900" b="0" dirty="0" err="1">
                <a:latin typeface="Segoe UI" pitchFamily="34" charset="0"/>
                <a:ea typeface="+mn-ea"/>
                <a:cs typeface="+mn-cs"/>
              </a:rPr>
              <a:t>Hcatalog</a:t>
            </a:r>
            <a:r>
              <a:rPr lang="en-IN" sz="900" b="0" dirty="0">
                <a:latin typeface="Segoe UI" pitchFamily="34" charset="0"/>
                <a:ea typeface="+mn-ea"/>
                <a:cs typeface="+mn-cs"/>
              </a:rPr>
              <a:t> – exposes hive metadata to other applications, giving users a relational view of HDFS data</a:t>
            </a:r>
          </a:p>
          <a:p>
            <a:pPr marL="177845" indent="-177845" defTabSz="967533" eaLnBrk="1" fontAlgn="auto" hangingPunct="1">
              <a:lnSpc>
                <a:spcPct val="90000"/>
              </a:lnSpc>
              <a:spcBef>
                <a:spcPts val="0"/>
              </a:spcBef>
              <a:spcAft>
                <a:spcPts val="353"/>
              </a:spcAft>
              <a:buFont typeface="Arial" panose="020B0604020202020204" pitchFamily="34" charset="0"/>
              <a:buChar char="•"/>
              <a:defRPr/>
            </a:pPr>
            <a:r>
              <a:rPr lang="en-IN" sz="900" b="0" dirty="0" err="1">
                <a:latin typeface="Segoe UI" pitchFamily="34" charset="0"/>
                <a:ea typeface="+mn-ea"/>
                <a:cs typeface="+mn-cs"/>
              </a:rPr>
              <a:t>Hbase</a:t>
            </a:r>
            <a:r>
              <a:rPr lang="en-IN" sz="900" b="0" dirty="0">
                <a:latin typeface="Segoe UI" pitchFamily="34" charset="0"/>
                <a:ea typeface="+mn-ea"/>
                <a:cs typeface="+mn-cs"/>
              </a:rPr>
              <a:t> - </a:t>
            </a:r>
            <a:r>
              <a:rPr lang="en-US" sz="900" b="0" dirty="0">
                <a:latin typeface="Segoe UI" pitchFamily="34" charset="0"/>
                <a:ea typeface="+mn-ea"/>
                <a:cs typeface="+mn-cs"/>
              </a:rPr>
              <a:t>A non-relational (NoSQL) database that runs on top of HDFS, random-</a:t>
            </a:r>
            <a:r>
              <a:rPr lang="en-US" sz="900" b="0" dirty="0" err="1">
                <a:latin typeface="Segoe UI" pitchFamily="34" charset="0"/>
                <a:ea typeface="+mn-ea"/>
                <a:cs typeface="+mn-cs"/>
              </a:rPr>
              <a:t>realtime</a:t>
            </a:r>
            <a:r>
              <a:rPr lang="en-US" sz="900" b="0" dirty="0">
                <a:latin typeface="Segoe UI" pitchFamily="34" charset="0"/>
                <a:ea typeface="+mn-ea"/>
                <a:cs typeface="+mn-cs"/>
              </a:rPr>
              <a:t> reads of HDFS data</a:t>
            </a:r>
          </a:p>
          <a:p>
            <a:pPr marL="177845" indent="-177845" defTabSz="967533" eaLnBrk="1" fontAlgn="auto" hangingPunct="1">
              <a:lnSpc>
                <a:spcPct val="90000"/>
              </a:lnSpc>
              <a:spcBef>
                <a:spcPts val="0"/>
              </a:spcBef>
              <a:spcAft>
                <a:spcPts val="353"/>
              </a:spcAft>
              <a:buFont typeface="Arial" panose="020B0604020202020204" pitchFamily="34" charset="0"/>
              <a:buChar char="•"/>
              <a:defRPr/>
            </a:pPr>
            <a:r>
              <a:rPr lang="en-US" sz="900" b="0" dirty="0" err="1">
                <a:latin typeface="Segoe UI" pitchFamily="34" charset="0"/>
                <a:ea typeface="+mn-ea"/>
                <a:cs typeface="+mn-cs"/>
              </a:rPr>
              <a:t>Polybase</a:t>
            </a:r>
            <a:r>
              <a:rPr lang="en-US" sz="900" b="0" dirty="0">
                <a:latin typeface="Segoe UI" pitchFamily="34" charset="0"/>
                <a:ea typeface="+mn-ea"/>
                <a:cs typeface="+mn-cs"/>
              </a:rPr>
              <a:t> - </a:t>
            </a:r>
            <a:r>
              <a:rPr lang="en-US" sz="900" b="0" dirty="0" err="1">
                <a:latin typeface="Segoe UI" pitchFamily="34" charset="0"/>
                <a:ea typeface="+mn-ea"/>
                <a:cs typeface="+mn-cs"/>
              </a:rPr>
              <a:t>PolyBase</a:t>
            </a:r>
            <a:r>
              <a:rPr lang="en-US" sz="900" b="0" dirty="0">
                <a:latin typeface="Segoe UI" pitchFamily="34" charset="0"/>
                <a:ea typeface="+mn-ea"/>
                <a:cs typeface="+mn-cs"/>
              </a:rPr>
              <a:t> is a technology that accesses and combines both non-relational and relational data, all from within SQL Server. It allows you to run queries on external data in Hadoop or Azure blob storage. The queries are optimized to push computation to Hadoop</a:t>
            </a:r>
          </a:p>
          <a:p>
            <a:pPr marL="642983" lvl="1" indent="-177845" defTabSz="967533" eaLnBrk="1" fontAlgn="auto" hangingPunct="1">
              <a:lnSpc>
                <a:spcPct val="90000"/>
              </a:lnSpc>
              <a:spcBef>
                <a:spcPts val="0"/>
              </a:spcBef>
              <a:spcAft>
                <a:spcPts val="353"/>
              </a:spcAft>
              <a:buFont typeface="Arial" panose="020B0604020202020204" pitchFamily="34" charset="0"/>
              <a:buChar char="•"/>
              <a:defRPr/>
            </a:pPr>
            <a:r>
              <a:rPr lang="en-US" sz="900" b="0" dirty="0">
                <a:latin typeface="Segoe UI" pitchFamily="34" charset="0"/>
                <a:ea typeface="+mn-ea"/>
                <a:cs typeface="+mn-cs"/>
              </a:rPr>
              <a:t>https://msdn.microsoft.com/en-us/library/mt143171.aspx</a:t>
            </a:r>
          </a:p>
          <a:p>
            <a:pPr marL="177845" indent="-177845" defTabSz="967533" eaLnBrk="1" fontAlgn="auto" hangingPunct="1">
              <a:lnSpc>
                <a:spcPct val="90000"/>
              </a:lnSpc>
              <a:spcBef>
                <a:spcPts val="0"/>
              </a:spcBef>
              <a:spcAft>
                <a:spcPts val="353"/>
              </a:spcAft>
              <a:buFont typeface="Arial" panose="020B0604020202020204" pitchFamily="34" charset="0"/>
              <a:buChar char="•"/>
              <a:defRPr/>
            </a:pPr>
            <a:endParaRPr lang="en-US" sz="900" b="0" dirty="0">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3728323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342900" indent="-342900">
              <a:buFont typeface="+mj-lt"/>
              <a:buAutoNum type="arabicPeriod"/>
            </a:pPr>
            <a:r>
              <a:rPr lang="en-US" sz="1800" dirty="0"/>
              <a:t>Main page: </a:t>
            </a:r>
            <a:r>
              <a:rPr lang="en-US" sz="1800" dirty="0">
                <a:hlinkClick r:id="rId3"/>
              </a:rPr>
              <a:t>https://azure.microsoft.com/en-us/documentation/services/hdinsight/</a:t>
            </a:r>
            <a:r>
              <a:rPr lang="en-US" sz="1800" dirty="0"/>
              <a:t>  </a:t>
            </a:r>
          </a:p>
          <a:p>
            <a:pPr marL="342900" indent="-342900">
              <a:buFont typeface="+mj-lt"/>
              <a:buAutoNum type="arabicPeriod"/>
            </a:pPr>
            <a:r>
              <a:rPr lang="en-US" sz="1800" dirty="0"/>
              <a:t>Pricing for HDInsight: </a:t>
            </a:r>
            <a:r>
              <a:rPr lang="en-US" sz="1800" dirty="0">
                <a:hlinkClick r:id="rId4"/>
              </a:rPr>
              <a:t>https://azure.microsoft.com/en-us/pricing/details/hdinsight/</a:t>
            </a:r>
            <a:r>
              <a:rPr lang="en-US" sz="1800" dirty="0"/>
              <a:t> </a:t>
            </a:r>
          </a:p>
          <a:p>
            <a:pPr marL="342900" indent="-342900">
              <a:buFont typeface="+mj-lt"/>
              <a:buAutoNum type="arabicPeriod"/>
            </a:pPr>
            <a:r>
              <a:rPr lang="en-US" sz="1800" dirty="0"/>
              <a:t>On demand</a:t>
            </a:r>
            <a:r>
              <a:rPr lang="en-US" sz="1800" baseline="0" dirty="0"/>
              <a:t> HDInsight cluster: </a:t>
            </a:r>
            <a:r>
              <a:rPr lang="en-US" sz="1800" baseline="0" dirty="0">
                <a:hlinkClick r:id="rId5"/>
              </a:rPr>
              <a:t>https://azure.microsoft.com/en-us/documentation/articles/data-factory-compute-linked-services/#azure-hdinsight-on-demand-linked-service</a:t>
            </a:r>
            <a:r>
              <a:rPr lang="en-US" sz="1800" baseline="0" dirty="0"/>
              <a:t> </a:t>
            </a:r>
            <a:endParaRPr lang="en-US" sz="1800" dirty="0"/>
          </a:p>
          <a:p>
            <a:pPr marL="171450" indent="-171450">
              <a:buFont typeface="Arial" panose="020B0604020202020204" pitchFamily="34" charset="0"/>
              <a:buChar char="•"/>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358735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63390"/>
            <a:ext cx="6096000" cy="4194810"/>
          </a:xfrm>
        </p:spPr>
        <p:txBody>
          <a:bodyPr/>
          <a:lstStyle/>
          <a:p>
            <a:pPr marL="342900" indent="-342900">
              <a:buFont typeface="+mj-lt"/>
              <a:buAutoNum type="arabicPeriod"/>
            </a:pPr>
            <a:r>
              <a:rPr lang="en-US" sz="1800" dirty="0"/>
              <a:t>Azure</a:t>
            </a:r>
            <a:r>
              <a:rPr lang="en-US" sz="1800" baseline="0" dirty="0"/>
              <a:t> Portal: </a:t>
            </a:r>
            <a:r>
              <a:rPr lang="en-US" sz="1800" baseline="0" dirty="0">
                <a:hlinkClick r:id="rId3"/>
              </a:rPr>
              <a:t>http://azure.portal.com</a:t>
            </a:r>
            <a:r>
              <a:rPr lang="en-US" sz="1800" baseline="0" dirty="0"/>
              <a:t> </a:t>
            </a:r>
          </a:p>
          <a:p>
            <a:pPr marL="342900" indent="-342900">
              <a:buFont typeface="+mj-lt"/>
              <a:buAutoNum type="arabicPeriod"/>
            </a:pPr>
            <a:r>
              <a:rPr lang="en-US" sz="1800" dirty="0"/>
              <a:t>Provisioning</a:t>
            </a:r>
            <a:r>
              <a:rPr lang="en-US" sz="1800" baseline="0" dirty="0"/>
              <a:t> Clusters: </a:t>
            </a:r>
            <a:r>
              <a:rPr lang="en-US" sz="1800" baseline="0" dirty="0">
                <a:hlinkClick r:id="rId4"/>
              </a:rPr>
              <a:t>https://azure.microsoft.com/en-us/documentation/articles/hdinsight-provision-clusters/</a:t>
            </a:r>
            <a:r>
              <a:rPr lang="en-US" sz="1800" baseline="0" dirty="0"/>
              <a:t> </a:t>
            </a:r>
          </a:p>
          <a:p>
            <a:pPr marL="342900" indent="-342900">
              <a:buFont typeface="+mj-lt"/>
              <a:buAutoNum type="arabicPeriod"/>
            </a:pPr>
            <a:r>
              <a:rPr lang="en-US" sz="1800" baseline="0" dirty="0"/>
              <a:t>Different clusters have different node types, number of nodes, and node sizes.</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054000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171450" indent="-171450">
              <a:buFont typeface="Arial" panose="020B0604020202020204" pitchFamily="34" charset="0"/>
              <a:buChar char="•"/>
            </a:pPr>
            <a:r>
              <a:rPr lang="en-US" sz="1800" dirty="0"/>
              <a:t>Hive for HDInsight: </a:t>
            </a:r>
            <a:r>
              <a:rPr lang="en-US" sz="1800" dirty="0">
                <a:hlinkClick r:id="rId3"/>
              </a:rPr>
              <a:t>https://azure.microsoft.com/en-us/documentation/articles/hdinsight-use-hive/</a:t>
            </a:r>
            <a:r>
              <a:rPr lang="en-US" sz="1800" dirty="0"/>
              <a:t> </a:t>
            </a:r>
          </a:p>
          <a:p>
            <a:pPr marL="171450" indent="-171450">
              <a:buFont typeface="Arial" panose="020B0604020202020204" pitchFamily="34" charset="0"/>
              <a:buChar char="•"/>
            </a:pPr>
            <a:r>
              <a:rPr lang="en-US" sz="1800" dirty="0"/>
              <a:t>Referencing</a:t>
            </a:r>
            <a:r>
              <a:rPr lang="en-US" sz="1800" baseline="0" dirty="0"/>
              <a:t> user defined functions with Hive: </a:t>
            </a:r>
            <a:r>
              <a:rPr lang="en-US" sz="1800" baseline="0" dirty="0">
                <a:hlinkClick r:id="rId4"/>
              </a:rPr>
              <a:t>https://msdn.microsoft.com/en-us/library/dn749875.aspx?f=255&amp;MSPPError=-2147217396</a:t>
            </a:r>
            <a:r>
              <a:rPr lang="en-US" sz="1800" baseline="0" dirty="0"/>
              <a:t> </a:t>
            </a:r>
          </a:p>
          <a:p>
            <a:pPr marL="171450" indent="-171450">
              <a:buFont typeface="Arial" panose="020B0604020202020204" pitchFamily="34" charset="0"/>
              <a:buChar char="•"/>
            </a:pPr>
            <a:r>
              <a:rPr lang="en-US" sz="1800" baseline="0" dirty="0"/>
              <a:t>Using Apache </a:t>
            </a:r>
            <a:r>
              <a:rPr lang="en-US" sz="1800" baseline="0" dirty="0" err="1"/>
              <a:t>Tez</a:t>
            </a:r>
            <a:r>
              <a:rPr lang="en-US" sz="1800" baseline="0" dirty="0"/>
              <a:t> for improved performance: </a:t>
            </a:r>
            <a:r>
              <a:rPr lang="en-US" sz="1800" baseline="0" dirty="0">
                <a:hlinkClick r:id="rId5"/>
              </a:rPr>
              <a:t>https://azure.microsoft.com/en-us/documentation/articles/hdinsight-use-hive/#usetez</a:t>
            </a:r>
            <a:r>
              <a:rPr lang="en-US" sz="1800" baseline="0" dirty="0"/>
              <a:t> </a:t>
            </a:r>
          </a:p>
          <a:p>
            <a:pPr marL="171450" indent="-171450">
              <a:buFont typeface="Arial" panose="020B0604020202020204" pitchFamily="34" charset="0"/>
              <a:buChar char="•"/>
            </a:pPr>
            <a:endParaRPr lang="en-US" sz="1800" baseline="0" dirty="0"/>
          </a:p>
          <a:p>
            <a:pPr marL="171450" indent="-171450">
              <a:buFont typeface="Arial" panose="020B0604020202020204" pitchFamily="34" charset="0"/>
              <a:buChar char="•"/>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167189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a:xfrm>
            <a:off x="407987" y="4379913"/>
            <a:ext cx="6207125" cy="4305300"/>
          </a:xfrm>
        </p:spPr>
        <p:txBody>
          <a:bodyPr>
            <a:normAutofit/>
          </a:bodyPr>
          <a:lstStyle/>
          <a:p>
            <a:pPr marL="342900" indent="-342900">
              <a:buFont typeface="+mj-lt"/>
              <a:buAutoNum type="arabicPeriod"/>
            </a:pPr>
            <a:r>
              <a:rPr lang="en-US" sz="1800" dirty="0"/>
              <a:t>Hive for HDInsight: </a:t>
            </a:r>
            <a:r>
              <a:rPr lang="en-US" dirty="0">
                <a:hlinkClick r:id="rId3"/>
              </a:rPr>
              <a:t>https://azure.microsoft.com/en-us/documentation/articles/hdinsight-use-hive/</a:t>
            </a:r>
            <a:r>
              <a:rPr lang="en-US" dirty="0"/>
              <a:t> </a:t>
            </a:r>
          </a:p>
          <a:p>
            <a:pPr marL="342900" indent="-342900">
              <a:buFont typeface="+mj-lt"/>
              <a:buAutoNum type="arabicPeriod"/>
            </a:pPr>
            <a:r>
              <a:rPr lang="en-US" dirty="0"/>
              <a:t>Referencing</a:t>
            </a:r>
            <a:r>
              <a:rPr lang="en-US" sz="1800" baseline="0" dirty="0"/>
              <a:t> user defined functions with Hive: </a:t>
            </a:r>
            <a:r>
              <a:rPr lang="en-US" sz="1800" baseline="0" dirty="0">
                <a:hlinkClick r:id="rId4"/>
              </a:rPr>
              <a:t>https://msdn.microsoft.com/en-us/library/dn749875.aspx?f=255&amp;MSPPError=-2147217396</a:t>
            </a:r>
            <a:r>
              <a:rPr lang="en-US" sz="1800" baseline="0" dirty="0"/>
              <a:t> </a:t>
            </a:r>
          </a:p>
          <a:p>
            <a:pPr marL="342900" indent="-342900">
              <a:buFont typeface="+mj-lt"/>
              <a:buAutoNum type="arabicPeriod"/>
            </a:pPr>
            <a:r>
              <a:rPr lang="en-US" sz="1800" baseline="0" dirty="0"/>
              <a:t>Using Apache </a:t>
            </a:r>
            <a:r>
              <a:rPr lang="en-US" sz="1800" baseline="0" dirty="0" err="1"/>
              <a:t>Tez</a:t>
            </a:r>
            <a:r>
              <a:rPr lang="en-US" sz="1800" baseline="0" dirty="0"/>
              <a:t> for improved performance: </a:t>
            </a:r>
            <a:r>
              <a:rPr lang="en-US" sz="1800" baseline="0" dirty="0">
                <a:hlinkClick r:id="rId5"/>
              </a:rPr>
              <a:t>https://azure.microsoft.com/en-us/documentation/articles/hdinsight-use-hive/#usetez</a:t>
            </a:r>
            <a:r>
              <a:rPr lang="en-US" sz="1800" baseline="0" dirty="0"/>
              <a:t> </a:t>
            </a:r>
          </a:p>
        </p:txBody>
      </p:sp>
      <p:sp>
        <p:nvSpPr>
          <p:cNvPr id="6" name="Slide Number Placeholder 5"/>
          <p:cNvSpPr>
            <a:spLocks noGrp="1"/>
          </p:cNvSpPr>
          <p:nvPr>
            <p:ph type="sldNum" sz="quarter"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61463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hlinkClick r:id="rId3"/>
              </a:rPr>
              <a:t>https://azure.microsoft.com/en-us/documentation/articles/hdinsight-connect-excel-hive-odbc-driver/</a:t>
            </a:r>
            <a:r>
              <a:rPr lang="en-US" dirty="0"/>
              <a:t> </a:t>
            </a: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17373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normAutofit/>
          </a:bodyPr>
          <a:lstStyle/>
          <a:p>
            <a:pPr marL="0" indent="0">
              <a:buFont typeface="Arial" panose="020B0604020202020204" pitchFamily="34" charset="0"/>
              <a:buNone/>
            </a:pPr>
            <a:r>
              <a:rPr lang="en-US" sz="2000" kern="1200" dirty="0">
                <a:solidFill>
                  <a:schemeClr val="tx1"/>
                </a:solidFill>
                <a:effectLst/>
                <a:latin typeface="Segoe UI Light" pitchFamily="34" charset="0"/>
                <a:ea typeface="+mn-ea"/>
                <a:cs typeface="+mn-cs"/>
              </a:rPr>
              <a:t>1.</a:t>
            </a:r>
            <a:r>
              <a:rPr lang="en-US" sz="2000" kern="1200" baseline="0" dirty="0">
                <a:solidFill>
                  <a:schemeClr val="tx1"/>
                </a:solidFill>
                <a:effectLst/>
                <a:latin typeface="Segoe UI Light" pitchFamily="34" charset="0"/>
                <a:ea typeface="+mn-ea"/>
                <a:cs typeface="+mn-cs"/>
              </a:rPr>
              <a:t> Full tutorial on creating Hive Tables: </a:t>
            </a:r>
            <a:r>
              <a:rPr lang="en-US" sz="2000" kern="1200" baseline="0" dirty="0">
                <a:solidFill>
                  <a:schemeClr val="tx1"/>
                </a:solidFill>
                <a:effectLst/>
                <a:latin typeface="Segoe UI Light" pitchFamily="34" charset="0"/>
                <a:ea typeface="+mn-ea"/>
                <a:cs typeface="+mn-cs"/>
                <a:hlinkClick r:id="rId3"/>
              </a:rPr>
              <a:t>https://www.dezyre.com/hadoop-tutorial/apache-hive-tutorial-tables</a:t>
            </a:r>
            <a:r>
              <a:rPr lang="en-US" sz="2000" kern="1200" baseline="0" dirty="0">
                <a:solidFill>
                  <a:schemeClr val="tx1"/>
                </a:solidFill>
                <a:effectLst/>
                <a:latin typeface="Segoe UI Light" pitchFamily="34" charset="0"/>
                <a:ea typeface="+mn-ea"/>
                <a:cs typeface="+mn-cs"/>
              </a:rPr>
              <a:t>  </a:t>
            </a:r>
            <a:endParaRPr lang="en-US" sz="2000" kern="1200" dirty="0">
              <a:solidFill>
                <a:schemeClr val="tx1"/>
              </a:solidFill>
              <a:effectLst/>
              <a:latin typeface="Segoe UI Light" pitchFamily="34" charset="0"/>
              <a:ea typeface="+mn-ea"/>
              <a:cs typeface="+mn-cs"/>
            </a:endParaRPr>
          </a:p>
        </p:txBody>
      </p:sp>
      <p:sp>
        <p:nvSpPr>
          <p:cNvPr id="6" name="Slide Number Placeholder 5"/>
          <p:cNvSpPr>
            <a:spLocks noGrp="1"/>
          </p:cNvSpPr>
          <p:nvPr>
            <p:ph type="sldNum" sz="quarter"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358772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Primary Site: </a:t>
            </a:r>
            <a:r>
              <a:rPr lang="en-US" dirty="0">
                <a:hlinkClick r:id="rId3"/>
              </a:rPr>
              <a:t>https://azure.microsoft.com/en-us/services/data-factory/</a:t>
            </a:r>
            <a:r>
              <a:rPr lang="en-US" dirty="0"/>
              <a:t>  </a:t>
            </a:r>
          </a:p>
          <a:p>
            <a:pPr marL="228600" indent="-228600">
              <a:buFont typeface="+mj-lt"/>
              <a:buAutoNum type="arabicPeriod"/>
            </a:pPr>
            <a:r>
              <a:rPr lang="en-US" dirty="0"/>
              <a:t>2-minute overview video: </a:t>
            </a:r>
            <a:r>
              <a:rPr lang="en-US" dirty="0">
                <a:hlinkClick r:id="rId4"/>
              </a:rPr>
              <a:t>https://channel9.msdn.com/Blogs/Windows-Azure/Introduction-to-Azure-Data-Factory/</a:t>
            </a:r>
            <a:r>
              <a:rPr lang="en-US" dirty="0"/>
              <a:t>  </a:t>
            </a:r>
          </a:p>
          <a:p>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22894844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At the</a:t>
            </a:r>
            <a:r>
              <a:rPr lang="en-US" sz="1800" baseline="0" dirty="0"/>
              <a:t> end of this Module, you will:</a:t>
            </a:r>
          </a:p>
          <a:p>
            <a:pPr marL="445862" lvl="1" indent="-228600">
              <a:buFont typeface="+mj-lt"/>
              <a:buAutoNum type="arabicPeriod"/>
            </a:pPr>
            <a:r>
              <a:rPr lang="en-US" sz="1800" baseline="0" dirty="0"/>
              <a:t>Understand ADF and its constructs</a:t>
            </a:r>
          </a:p>
          <a:p>
            <a:pPr marL="445862" lvl="1" indent="-228600">
              <a:buFont typeface="+mj-lt"/>
              <a:buAutoNum type="arabicPeriod"/>
            </a:pPr>
            <a:r>
              <a:rPr lang="en-US" sz="1800" baseline="0" dirty="0"/>
              <a:t>Implement an ADF Pipeline referencing Data Sources and with various Activities</a:t>
            </a:r>
          </a:p>
          <a:p>
            <a:pPr marL="445862" lvl="1" indent="-228600">
              <a:buFont typeface="+mj-lt"/>
              <a:buAutoNum type="arabicPeriod"/>
            </a:pPr>
            <a:r>
              <a:rPr lang="en-US" sz="1800" baseline="0" dirty="0"/>
              <a:t>Understand how HDInsight can be used to process data</a:t>
            </a:r>
          </a:p>
          <a:p>
            <a:pPr marL="445862" lvl="1" indent="-228600">
              <a:buFont typeface="+mj-lt"/>
              <a:buAutoNum type="arabicPeriod"/>
            </a:pPr>
            <a:r>
              <a:rPr lang="en-US" sz="1800" baseline="0" dirty="0"/>
              <a:t>Understand the HIVE language and how it is used</a:t>
            </a:r>
          </a:p>
          <a:p>
            <a:pPr marL="445862" lvl="1" indent="-228600">
              <a:buFont typeface="+mj-lt"/>
              <a:buAutoNum type="arabicPeriod"/>
            </a:pPr>
            <a:endParaRPr lang="en-US" sz="1800" baseline="0" dirty="0"/>
          </a:p>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4719809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09110"/>
            <a:ext cx="6096000" cy="4149090"/>
          </a:xfrm>
        </p:spPr>
        <p:txBody>
          <a:bodyPr/>
          <a:lstStyle/>
          <a:p>
            <a:pPr marL="228600" marR="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t>Learning Path: </a:t>
            </a:r>
            <a:r>
              <a:rPr lang="en-US" sz="1800" dirty="0">
                <a:hlinkClick r:id="rId3"/>
              </a:rPr>
              <a:t>https://azure.microsoft.com/en-us/documentation/articles/data-factory-introduction/</a:t>
            </a:r>
            <a:r>
              <a:rPr lang="en-US" sz="1800" dirty="0"/>
              <a:t>  </a:t>
            </a:r>
          </a:p>
          <a:p>
            <a:pPr marL="228600" indent="-228600">
              <a:buFont typeface="+mj-lt"/>
              <a:buAutoNum type="arabicPeriod"/>
            </a:pPr>
            <a:r>
              <a:rPr lang="en-US" sz="1800" baseline="0" dirty="0"/>
              <a:t>Developer Reference: </a:t>
            </a:r>
            <a:r>
              <a:rPr lang="en-US" sz="1800" baseline="0" dirty="0">
                <a:hlinkClick r:id="rId4"/>
              </a:rPr>
              <a:t>https://msdn.microsoft.com/en-us/library/azure/dn834987.aspx</a:t>
            </a:r>
            <a:r>
              <a:rPr lang="en-US" sz="1800" baseline="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95163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97680"/>
            <a:ext cx="6096000" cy="4160520"/>
          </a:xfrm>
        </p:spPr>
        <p:txBody>
          <a:bodyPr/>
          <a:lstStyle/>
          <a:p>
            <a:pPr marL="228600" marR="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baseline="0" dirty="0"/>
              <a:t>Pricing: </a:t>
            </a:r>
            <a:r>
              <a:rPr lang="en-US" sz="1800" baseline="0" dirty="0">
                <a:hlinkClick r:id="rId3"/>
              </a:rPr>
              <a:t>https://azure.microsoft.com/en-us/pricing/details/data-factory/</a:t>
            </a:r>
            <a:r>
              <a:rPr lang="en-US" sz="1800" baseline="0" dirty="0"/>
              <a:t>  </a:t>
            </a:r>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819002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20540"/>
            <a:ext cx="6096000" cy="4137660"/>
          </a:xfrm>
        </p:spPr>
        <p:txBody>
          <a:bodyPr/>
          <a:lstStyle/>
          <a:p>
            <a:pPr marL="228600" indent="-228600">
              <a:buFont typeface="+mj-lt"/>
              <a:buAutoNum type="arabicPeriod"/>
            </a:pPr>
            <a:r>
              <a:rPr lang="en-US" sz="1800" dirty="0"/>
              <a:t>Learning Path: </a:t>
            </a:r>
            <a:r>
              <a:rPr lang="en-US" sz="1800" dirty="0">
                <a:hlinkClick r:id="rId3"/>
              </a:rPr>
              <a:t>https://azure.microsoft.com/en-us/documentation/articles/data-factory-introduction/</a:t>
            </a:r>
            <a:r>
              <a:rPr lang="en-US" sz="1800" dirty="0"/>
              <a:t> </a:t>
            </a:r>
          </a:p>
          <a:p>
            <a:pPr marL="228600" indent="-228600">
              <a:buFont typeface="+mj-lt"/>
              <a:buAutoNum type="arabicPeriod"/>
            </a:pPr>
            <a:r>
              <a:rPr lang="en-US" sz="1800" dirty="0"/>
              <a:t>Quick Example: </a:t>
            </a:r>
            <a:r>
              <a:rPr lang="en-US" sz="1800" dirty="0">
                <a:hlinkClick r:id="rId4"/>
              </a:rPr>
              <a:t>http://azure.microsoft.com/blog/2015/04/24/azure-data-factory-update-simplified-sample-deployment/</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865633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Full Tutorial: </a:t>
            </a:r>
            <a:r>
              <a:rPr lang="en-US" sz="1800" dirty="0">
                <a:hlinkClick r:id="rId3"/>
              </a:rPr>
              <a:t>https://azure.microsoft.com/en-us/documentation/articles/data-factory-build-your-first-pipeline/</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980868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09110"/>
            <a:ext cx="6096000" cy="4149090"/>
          </a:xfrm>
        </p:spPr>
        <p:txBody>
          <a:bodyPr/>
          <a:lstStyle/>
          <a:p>
            <a:pPr marL="228600" indent="-228600">
              <a:buFont typeface="+mj-lt"/>
              <a:buAutoNum type="arabicPeriod"/>
            </a:pPr>
            <a:r>
              <a:rPr lang="en-US" sz="1800" dirty="0">
                <a:hlinkClick r:id="rId3"/>
              </a:rPr>
              <a:t>https://azure.microsoft.com/en-us/documentation/articles/data-factory-customer-profiling-usecase/</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774177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97680"/>
            <a:ext cx="6096000" cy="4206240"/>
          </a:xfrm>
        </p:spPr>
        <p:txBody>
          <a:bodyPr/>
          <a:lstStyle/>
          <a:p>
            <a:pPr marL="228600" indent="-228600">
              <a:buFont typeface="+mj-lt"/>
              <a:buAutoNum type="arabicPeriod"/>
            </a:pPr>
            <a:r>
              <a:rPr lang="en-US" sz="1800" dirty="0"/>
              <a:t>Video of this process: </a:t>
            </a:r>
            <a:r>
              <a:rPr lang="en-US" sz="1800" dirty="0">
                <a:hlinkClick r:id="rId3"/>
              </a:rPr>
              <a:t>https://azure.microsoft.com/en-us/documentation/videos/azure-data-factory-102-analyzing-complex-churn-models-with-azure-data-factory/</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433854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86250"/>
            <a:ext cx="6096000" cy="4171950"/>
          </a:xfrm>
        </p:spPr>
        <p:txBody>
          <a:bodyPr/>
          <a:lstStyle/>
          <a:p>
            <a:pPr marL="228600" indent="-228600">
              <a:buFont typeface="+mj-lt"/>
              <a:buAutoNum type="arabicPeriod"/>
            </a:pPr>
            <a:r>
              <a:rPr lang="en-US" sz="1800" baseline="0" dirty="0"/>
              <a:t>More options: Prepare System: </a:t>
            </a:r>
            <a:r>
              <a:rPr lang="en-US" dirty="0">
                <a:hlinkClick r:id="rId3"/>
              </a:rPr>
              <a:t>https://azure.microsoft.com/en-us/documentation/articles/data-factory-build-your-first-pipeline-using-editor/</a:t>
            </a:r>
            <a:r>
              <a:rPr lang="en-US" dirty="0"/>
              <a:t>  - </a:t>
            </a:r>
            <a:r>
              <a:rPr lang="en-US" sz="1800" baseline="0" dirty="0"/>
              <a:t>Follow steps</a:t>
            </a:r>
          </a:p>
          <a:p>
            <a:pPr marL="228600" indent="-228600">
              <a:buFont typeface="+mj-lt"/>
              <a:buAutoNum type="arabicPeriod"/>
            </a:pPr>
            <a:r>
              <a:rPr lang="en-US" sz="1800" baseline="0" dirty="0"/>
              <a:t>Another Lab: </a:t>
            </a:r>
            <a:r>
              <a:rPr lang="en-US" sz="1800" baseline="0" dirty="0">
                <a:hlinkClick r:id="rId4"/>
              </a:rPr>
              <a:t>https://azure.microsoft.com/en-us/documentation/articles/data-factory-samples/</a:t>
            </a:r>
            <a:r>
              <a:rPr lang="en-US" sz="1800" baseline="0" dirty="0"/>
              <a:t>  </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018210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20540"/>
            <a:ext cx="6096000" cy="4137660"/>
          </a:xfrm>
        </p:spPr>
        <p:txBody>
          <a:bodyPr/>
          <a:lstStyle/>
          <a:p>
            <a:pPr marL="228600" indent="-228600">
              <a:buFont typeface="+mj-lt"/>
              <a:buAutoNum type="arabicPeriod"/>
            </a:pPr>
            <a:r>
              <a:rPr lang="en-US" sz="1800" dirty="0"/>
              <a:t>Setting Up: </a:t>
            </a:r>
            <a:r>
              <a:rPr lang="en-US" sz="1800" dirty="0">
                <a:hlinkClick r:id="rId3"/>
              </a:rPr>
              <a:t>https://azure.microsoft.com/en-us/documentation/articles/data-factory-build-your-first-pipeline/</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72996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Overview: </a:t>
            </a:r>
            <a:r>
              <a:rPr lang="en-US" sz="1800" dirty="0">
                <a:hlinkClick r:id="rId3"/>
              </a:rPr>
              <a:t>https://azure.microsoft.com/en-us/documentation/articles/data-factory-build-your-first-pipeline/</a:t>
            </a:r>
            <a:r>
              <a:rPr lang="en-US" sz="1800" dirty="0"/>
              <a:t>  </a:t>
            </a:r>
          </a:p>
          <a:p>
            <a:pPr marL="228600" indent="-228600">
              <a:buFont typeface="+mj-lt"/>
              <a:buAutoNum type="arabicPeriod"/>
            </a:pPr>
            <a:r>
              <a:rPr lang="en-US" sz="1800" dirty="0"/>
              <a:t>Using the Portal: </a:t>
            </a:r>
            <a:r>
              <a:rPr lang="en-US" sz="1800" dirty="0">
                <a:hlinkClick r:id="rId4"/>
              </a:rPr>
              <a:t>https://azure.microsoft.com/en-us/documentation/articles/data-factory-build-your-first-pipeline-using-editor/</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864962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20540"/>
            <a:ext cx="6096000" cy="4137660"/>
          </a:xfrm>
        </p:spPr>
        <p:txBody>
          <a:bodyPr/>
          <a:lstStyle/>
          <a:p>
            <a:pPr marL="228600" indent="-228600">
              <a:buFont typeface="+mj-lt"/>
              <a:buAutoNum type="arabicPeriod"/>
            </a:pPr>
            <a:r>
              <a:rPr lang="en-US" sz="1800" dirty="0"/>
              <a:t>Learning Path: </a:t>
            </a:r>
            <a:r>
              <a:rPr lang="en-US" sz="1800" dirty="0">
                <a:hlinkClick r:id="rId3"/>
              </a:rPr>
              <a:t>https://azure.microsoft.com/en-us/documentation/articles/data-factory-introduction/</a:t>
            </a:r>
            <a:r>
              <a:rPr lang="en-US" sz="1800" dirty="0"/>
              <a:t> </a:t>
            </a:r>
          </a:p>
          <a:p>
            <a:pPr marL="228600" indent="-228600">
              <a:buFont typeface="+mj-lt"/>
              <a:buAutoNum type="arabicPeriod"/>
            </a:pPr>
            <a:r>
              <a:rPr lang="en-US" sz="1800" dirty="0"/>
              <a:t>Full Tutorial: </a:t>
            </a:r>
            <a:r>
              <a:rPr lang="en-US" sz="1800" dirty="0">
                <a:hlinkClick r:id="rId4"/>
              </a:rPr>
              <a:t>https://azure.microsoft.com/en-us/documentation/articles/data-factory-build-your-first-pipeline/</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12224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0111267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hlinkClick r:id="rId3"/>
              </a:rPr>
              <a:t>https://azure.microsoft.com/en-us/documentation/articles/data-factory-build-your-first-pipeline-using-powershell/</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375727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20540"/>
            <a:ext cx="6096000" cy="4171950"/>
          </a:xfrm>
        </p:spPr>
        <p:txBody>
          <a:bodyPr/>
          <a:lstStyle/>
          <a:p>
            <a:pPr marL="228600" indent="-228600">
              <a:buFont typeface="+mj-lt"/>
              <a:buAutoNum type="arabicPeriod"/>
            </a:pPr>
            <a:r>
              <a:rPr lang="en-US" sz="1800" dirty="0"/>
              <a:t>Overview: </a:t>
            </a:r>
            <a:r>
              <a:rPr lang="en-US" sz="1800" dirty="0">
                <a:hlinkClick r:id="rId3"/>
              </a:rPr>
              <a:t>https://azure.microsoft.com/en-us/documentation/articles/data-factory-build-your-first-pipeline/</a:t>
            </a:r>
            <a:r>
              <a:rPr lang="en-US" sz="1800" dirty="0"/>
              <a:t>  </a:t>
            </a:r>
          </a:p>
          <a:p>
            <a:pPr marL="228600" indent="-228600">
              <a:buFont typeface="+mj-lt"/>
              <a:buAutoNum type="arabicPeriod"/>
            </a:pPr>
            <a:r>
              <a:rPr lang="en-US" sz="1800" dirty="0"/>
              <a:t>Using the Portal: </a:t>
            </a:r>
            <a:r>
              <a:rPr lang="en-US" sz="1800" dirty="0">
                <a:hlinkClick r:id="rId4"/>
              </a:rPr>
              <a:t>https://azure.microsoft.com/en-us/documentation/articles/data-factory-build-your-first-pipeline-using-editor/</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318907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en the </a:t>
            </a:r>
            <a:r>
              <a:rPr lang="en-US" sz="1800" b="1" kern="1200" dirty="0">
                <a:solidFill>
                  <a:schemeClr val="tx1"/>
                </a:solidFill>
                <a:latin typeface="Segoe UI Light" pitchFamily="34" charset="0"/>
                <a:ea typeface="+mn-ea"/>
                <a:cs typeface="+mn-cs"/>
              </a:rPr>
              <a:t>ADF Student Workbook </a:t>
            </a:r>
            <a:r>
              <a:rPr lang="en-US" sz="1800" kern="1200" dirty="0">
                <a:solidFill>
                  <a:schemeClr val="tx1"/>
                </a:solidFill>
                <a:latin typeface="Segoe UI Light" pitchFamily="34" charset="0"/>
                <a:ea typeface="+mn-ea"/>
                <a:cs typeface="+mn-cs"/>
              </a:rPr>
              <a:t>file from your \Resources folder</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Follow the steps for </a:t>
            </a:r>
            <a:r>
              <a:rPr lang="en-US" sz="1800" b="1" kern="1200" dirty="0">
                <a:solidFill>
                  <a:schemeClr val="tx1"/>
                </a:solidFill>
                <a:latin typeface="Segoe UI Light" pitchFamily="34" charset="0"/>
                <a:ea typeface="+mn-ea"/>
                <a:cs typeface="+mn-cs"/>
              </a:rPr>
              <a:t>Lab 1</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The follow the steps for </a:t>
            </a:r>
            <a:r>
              <a:rPr lang="en-US" sz="1800" b="1" kern="1200" dirty="0">
                <a:solidFill>
                  <a:schemeClr val="tx1"/>
                </a:solidFill>
                <a:latin typeface="Segoe UI Light" pitchFamily="34" charset="0"/>
                <a:ea typeface="+mn-ea"/>
                <a:cs typeface="+mn-cs"/>
              </a:rPr>
              <a:t>Lab 2</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b="0" kern="1200" dirty="0">
                <a:solidFill>
                  <a:schemeClr val="tx1"/>
                </a:solidFill>
                <a:latin typeface="Segoe UI Light" pitchFamily="34" charset="0"/>
                <a:ea typeface="+mn-ea"/>
                <a:cs typeface="+mn-cs"/>
              </a:rPr>
              <a:t>Note – There’s a useful JSON </a:t>
            </a:r>
            <a:r>
              <a:rPr lang="en-US" sz="1800" b="0" kern="1200" dirty="0" err="1">
                <a:solidFill>
                  <a:schemeClr val="tx1"/>
                </a:solidFill>
                <a:latin typeface="Segoe UI Light" pitchFamily="34" charset="0"/>
                <a:ea typeface="+mn-ea"/>
                <a:cs typeface="+mn-cs"/>
              </a:rPr>
              <a:t>prettifier</a:t>
            </a:r>
            <a:r>
              <a:rPr lang="en-US" sz="1800" b="0" kern="1200" baseline="0" dirty="0">
                <a:solidFill>
                  <a:schemeClr val="tx1"/>
                </a:solidFill>
                <a:latin typeface="Segoe UI Light" pitchFamily="34" charset="0"/>
                <a:ea typeface="+mn-ea"/>
                <a:cs typeface="+mn-cs"/>
              </a:rPr>
              <a:t> here: </a:t>
            </a:r>
            <a:r>
              <a:rPr lang="en-US" sz="1800" b="0" u="sng" kern="1200" dirty="0">
                <a:solidFill>
                  <a:schemeClr val="tx1"/>
                </a:solidFill>
                <a:effectLst/>
                <a:latin typeface="Segoe UI Light" pitchFamily="34" charset="0"/>
                <a:ea typeface="+mn-ea"/>
                <a:cs typeface="+mn-cs"/>
                <a:hlinkClick r:id="rId3"/>
              </a:rPr>
              <a:t>http://</a:t>
            </a:r>
            <a:r>
              <a:rPr lang="en-US" sz="1800" b="0" u="sng" kern="1200">
                <a:solidFill>
                  <a:schemeClr val="tx1"/>
                </a:solidFill>
                <a:effectLst/>
                <a:latin typeface="Segoe UI Light" pitchFamily="34" charset="0"/>
                <a:ea typeface="+mn-ea"/>
                <a:cs typeface="+mn-cs"/>
                <a:hlinkClick r:id="rId3"/>
              </a:rPr>
              <a:t>www.jsoneditoronline.org/</a:t>
            </a:r>
            <a:endParaRPr lang="en-US" sz="1800" b="0" kern="1200" dirty="0">
              <a:solidFill>
                <a:schemeClr val="tx1"/>
              </a:solidFill>
              <a:effectLst/>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94910170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09110"/>
            <a:ext cx="6096000" cy="4149090"/>
          </a:xfrm>
        </p:spPr>
        <p:txBody>
          <a:bodyPr/>
          <a:lstStyle/>
          <a:p>
            <a:pPr marL="228600" indent="-228600">
              <a:buFont typeface="+mj-lt"/>
              <a:buAutoNum type="arabicPeriod"/>
            </a:pPr>
            <a:r>
              <a:rPr lang="en-US" sz="1800" dirty="0"/>
              <a:t>Data Linking:</a:t>
            </a:r>
            <a:r>
              <a:rPr lang="en-US" sz="1800" baseline="0" dirty="0"/>
              <a:t> </a:t>
            </a:r>
            <a:r>
              <a:rPr lang="en-US" sz="1800" baseline="0" dirty="0">
                <a:hlinkClick r:id="rId3"/>
              </a:rPr>
              <a:t>https://azure.microsoft.com/en-us/documentation/articles/data-factory-data-movement-activities/</a:t>
            </a:r>
            <a:r>
              <a:rPr lang="en-US" sz="1800" baseline="0" dirty="0"/>
              <a:t>   </a:t>
            </a:r>
          </a:p>
          <a:p>
            <a:pPr marL="228600" indent="-228600">
              <a:buFont typeface="+mj-lt"/>
              <a:buAutoNum type="arabicPeriod"/>
            </a:pPr>
            <a:r>
              <a:rPr lang="en-US" sz="1800" baseline="0" dirty="0"/>
              <a:t>Compute Linking: </a:t>
            </a:r>
            <a:r>
              <a:rPr lang="en-US" sz="1800" baseline="0" dirty="0">
                <a:hlinkClick r:id="rId4"/>
              </a:rPr>
              <a:t>https://azure.microsoft.com/en-us/documentation/articles/data-factory-compute-linked-services/</a:t>
            </a:r>
            <a:r>
              <a:rPr lang="en-US" sz="1800" baseline="0" dirty="0"/>
              <a:t>  </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052407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09110"/>
            <a:ext cx="6096000" cy="4149090"/>
          </a:xfrm>
        </p:spPr>
        <p:txBody>
          <a:bodyPr/>
          <a:lstStyle/>
          <a:p>
            <a:pPr marL="228600" indent="-228600">
              <a:buFont typeface="+mj-lt"/>
              <a:buAutoNum type="arabicPeriod"/>
            </a:pPr>
            <a:r>
              <a:rPr lang="en-US" sz="1800" dirty="0"/>
              <a:t>Data Movement requirements: </a:t>
            </a:r>
            <a:r>
              <a:rPr lang="en-US" sz="1800" dirty="0">
                <a:hlinkClick r:id="rId3"/>
              </a:rPr>
              <a:t>https://azure.microsoft.com/en-us/documentation/articles/data-factory-data-movement-activities/</a:t>
            </a:r>
            <a:r>
              <a:rPr lang="en-US" sz="1800" dirty="0"/>
              <a:t>  </a:t>
            </a:r>
          </a:p>
          <a:p>
            <a:pPr marL="228600" indent="-228600">
              <a:buFont typeface="+mj-lt"/>
              <a:buAutoNum type="arabicPeriod"/>
            </a:pPr>
            <a:r>
              <a:rPr lang="en-US" sz="1800" dirty="0"/>
              <a:t>From on-premises, requires Data Management Gateway: </a:t>
            </a:r>
            <a:r>
              <a:rPr lang="en-US" sz="1800" dirty="0">
                <a:hlinkClick r:id="rId4"/>
              </a:rPr>
              <a:t>https://azure.microsoft.com/en-us/documentation/articles/data-factory-move-data-between-onprem-and-cloud/</a:t>
            </a:r>
            <a:r>
              <a:rPr lang="en-US" sz="1800" dirty="0"/>
              <a:t>  </a:t>
            </a:r>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389088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09110"/>
            <a:ext cx="6096000" cy="4149090"/>
          </a:xfrm>
        </p:spPr>
        <p:txBody>
          <a:bodyPr/>
          <a:lstStyle/>
          <a:p>
            <a:pPr marL="228600" marR="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t>Main </a:t>
            </a:r>
            <a:r>
              <a:rPr lang="en-US" sz="1800" baseline="0" dirty="0"/>
              <a:t>Document Site: </a:t>
            </a:r>
            <a:r>
              <a:rPr lang="en-US" sz="1800" baseline="0" dirty="0">
                <a:hlinkClick r:id="rId3"/>
              </a:rPr>
              <a:t>https://azure.microsoft.com/en-us/documentation/articles/data-factory-data-transformation-activities/</a:t>
            </a:r>
            <a:r>
              <a:rPr lang="en-US" sz="1800" baseline="0" dirty="0"/>
              <a:t>  </a:t>
            </a:r>
            <a:endParaRPr lang="en-US" sz="1800" dirty="0"/>
          </a:p>
          <a:p>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05247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74820"/>
            <a:ext cx="6096000" cy="4183380"/>
          </a:xfrm>
        </p:spPr>
        <p:txBody>
          <a:bodyPr/>
          <a:lstStyle/>
          <a:p>
            <a:pPr marL="228600" indent="-228600">
              <a:buFont typeface="+mj-lt"/>
              <a:buAutoNum type="arabicPeriod"/>
            </a:pPr>
            <a:r>
              <a:rPr lang="en-US" sz="1600" dirty="0"/>
              <a:t>Activities:</a:t>
            </a:r>
            <a:r>
              <a:rPr lang="en-US" sz="1600" baseline="0" dirty="0"/>
              <a:t> </a:t>
            </a:r>
            <a:r>
              <a:rPr lang="en-US" sz="1600" dirty="0">
                <a:hlinkClick r:id="rId3"/>
              </a:rPr>
              <a:t>https://azure.microsoft.com/en-us/documentation/articles/data-factory-create-pipelines/</a:t>
            </a:r>
            <a:r>
              <a:rPr lang="en-US" sz="1600" dirty="0"/>
              <a:t> </a:t>
            </a:r>
          </a:p>
          <a:p>
            <a:pPr marL="228600" indent="-228600">
              <a:buFont typeface="+mj-lt"/>
              <a:buAutoNum type="arabicPeriod"/>
            </a:pPr>
            <a:endParaRPr lang="en-US" sz="1600" dirty="0"/>
          </a:p>
          <a:p>
            <a:pPr marL="0" indent="0">
              <a:buFont typeface="+mj-lt"/>
              <a:buNone/>
            </a:pPr>
            <a:r>
              <a:rPr lang="en-US" sz="1600" dirty="0"/>
              <a:t>CreateHDICluster.txt:</a:t>
            </a:r>
          </a:p>
          <a:p>
            <a:pPr marL="0" indent="0">
              <a:buFont typeface="+mj-lt"/>
              <a:buNone/>
            </a:pPr>
            <a:r>
              <a:rPr lang="en-US" sz="1600" dirty="0"/>
              <a:t>{</a:t>
            </a:r>
          </a:p>
          <a:p>
            <a:pPr marL="0" indent="0">
              <a:buFont typeface="+mj-lt"/>
              <a:buNone/>
            </a:pPr>
            <a:r>
              <a:rPr lang="en-US" sz="1600" dirty="0"/>
              <a:t>  "name": "</a:t>
            </a:r>
            <a:r>
              <a:rPr lang="en-US" sz="1600" dirty="0" err="1"/>
              <a:t>HDInsightOnDemandLinkedService</a:t>
            </a:r>
            <a:r>
              <a:rPr lang="en-US" sz="1600" dirty="0"/>
              <a:t>",</a:t>
            </a:r>
          </a:p>
          <a:p>
            <a:pPr marL="0" indent="0">
              <a:buFont typeface="+mj-lt"/>
              <a:buNone/>
            </a:pPr>
            <a:r>
              <a:rPr lang="en-US" sz="1600" dirty="0"/>
              <a:t>  "properties": {</a:t>
            </a:r>
          </a:p>
          <a:p>
            <a:pPr marL="0" indent="0">
              <a:buFont typeface="+mj-lt"/>
              <a:buNone/>
            </a:pPr>
            <a:r>
              <a:rPr lang="en-US" sz="1600" dirty="0"/>
              <a:t>    "type": "</a:t>
            </a:r>
            <a:r>
              <a:rPr lang="en-US" sz="1600" dirty="0" err="1"/>
              <a:t>HDInsightOnDemand</a:t>
            </a:r>
            <a:r>
              <a:rPr lang="en-US" sz="1600" dirty="0"/>
              <a:t>",</a:t>
            </a:r>
          </a:p>
          <a:p>
            <a:pPr marL="0" indent="0">
              <a:buFont typeface="+mj-lt"/>
              <a:buNone/>
            </a:pPr>
            <a:r>
              <a:rPr lang="en-US" sz="1600" dirty="0"/>
              <a:t>    "</a:t>
            </a:r>
            <a:r>
              <a:rPr lang="en-US" sz="1600" dirty="0" err="1"/>
              <a:t>typeProperties</a:t>
            </a:r>
            <a:r>
              <a:rPr lang="en-US" sz="1600" dirty="0"/>
              <a:t>": {</a:t>
            </a:r>
          </a:p>
          <a:p>
            <a:pPr marL="0" indent="0">
              <a:buFont typeface="+mj-lt"/>
              <a:buNone/>
            </a:pPr>
            <a:r>
              <a:rPr lang="en-US" sz="1600" dirty="0"/>
              <a:t>      "version": "3.1",</a:t>
            </a:r>
          </a:p>
          <a:p>
            <a:pPr marL="0" indent="0">
              <a:buFont typeface="+mj-lt"/>
              <a:buNone/>
            </a:pPr>
            <a:r>
              <a:rPr lang="en-US" sz="1600" dirty="0"/>
              <a:t>      "</a:t>
            </a:r>
            <a:r>
              <a:rPr lang="en-US" sz="1600" dirty="0" err="1"/>
              <a:t>clusterSize</a:t>
            </a:r>
            <a:r>
              <a:rPr lang="en-US" sz="1600" dirty="0"/>
              <a:t>": 1,</a:t>
            </a:r>
          </a:p>
          <a:p>
            <a:pPr marL="0" indent="0">
              <a:buFont typeface="+mj-lt"/>
              <a:buNone/>
            </a:pPr>
            <a:r>
              <a:rPr lang="en-US" sz="1600" dirty="0"/>
              <a:t>      "</a:t>
            </a:r>
            <a:r>
              <a:rPr lang="en-US" sz="1600" dirty="0" err="1"/>
              <a:t>timeToLive</a:t>
            </a:r>
            <a:r>
              <a:rPr lang="en-US" sz="1600" dirty="0"/>
              <a:t>": "00:30:00",</a:t>
            </a:r>
          </a:p>
          <a:p>
            <a:pPr marL="0" indent="0">
              <a:buFont typeface="+mj-lt"/>
              <a:buNone/>
            </a:pPr>
            <a:r>
              <a:rPr lang="en-US" sz="1600" dirty="0"/>
              <a:t>      "</a:t>
            </a:r>
            <a:r>
              <a:rPr lang="en-US" sz="1600" dirty="0" err="1"/>
              <a:t>linkedServiceName</a:t>
            </a:r>
            <a:r>
              <a:rPr lang="en-US" sz="1600" dirty="0"/>
              <a:t>": "</a:t>
            </a:r>
            <a:r>
              <a:rPr lang="en-US" sz="1600" dirty="0" err="1"/>
              <a:t>StorageLinkedService</a:t>
            </a:r>
            <a:r>
              <a:rPr lang="en-US" sz="1600" dirty="0"/>
              <a:t>"</a:t>
            </a:r>
          </a:p>
          <a:p>
            <a:pPr marL="0" indent="0">
              <a:buFont typeface="+mj-lt"/>
              <a:buNone/>
            </a:pPr>
            <a:r>
              <a:rPr lang="en-US" sz="1600" dirty="0"/>
              <a:t>    }</a:t>
            </a:r>
          </a:p>
          <a:p>
            <a:pPr marL="0" indent="0">
              <a:buFont typeface="+mj-lt"/>
              <a:buNone/>
            </a:pPr>
            <a:r>
              <a:rPr lang="en-US" sz="1600" dirty="0"/>
              <a:t>  }</a:t>
            </a:r>
          </a:p>
          <a:p>
            <a:pPr marL="0" indent="0">
              <a:buFont typeface="+mj-lt"/>
              <a:buNone/>
            </a:pPr>
            <a:r>
              <a:rPr lang="en-US" sz="1600" dirty="0"/>
              <a:t>}</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014824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en the </a:t>
            </a:r>
            <a:r>
              <a:rPr lang="en-US" sz="1800" b="1" kern="1200" dirty="0">
                <a:solidFill>
                  <a:schemeClr val="tx1"/>
                </a:solidFill>
                <a:latin typeface="Segoe UI Light" pitchFamily="34" charset="0"/>
                <a:ea typeface="+mn-ea"/>
                <a:cs typeface="+mn-cs"/>
              </a:rPr>
              <a:t>ADF Student Workbook </a:t>
            </a:r>
            <a:r>
              <a:rPr lang="en-US" sz="1800" kern="1200" dirty="0">
                <a:solidFill>
                  <a:schemeClr val="tx1"/>
                </a:solidFill>
                <a:latin typeface="Segoe UI Light" pitchFamily="34" charset="0"/>
                <a:ea typeface="+mn-ea"/>
                <a:cs typeface="+mn-cs"/>
              </a:rPr>
              <a:t>file from your \Resources folder</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Follow the steps for Lab 3</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73661001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74820"/>
            <a:ext cx="6096000" cy="4183380"/>
          </a:xfrm>
        </p:spPr>
        <p:txBody>
          <a:bodyPr/>
          <a:lstStyle/>
          <a:p>
            <a:pPr marL="228600" indent="-228600">
              <a:buFont typeface="+mj-lt"/>
              <a:buAutoNum type="arabicPeriod"/>
            </a:pPr>
            <a:r>
              <a:rPr lang="en-US" sz="1800" dirty="0"/>
              <a:t>Main Dataset</a:t>
            </a:r>
            <a:r>
              <a:rPr lang="en-US" sz="1800" baseline="0" dirty="0"/>
              <a:t> </a:t>
            </a:r>
            <a:r>
              <a:rPr lang="en-US" sz="1800" dirty="0"/>
              <a:t>Document Site:</a:t>
            </a:r>
            <a:r>
              <a:rPr lang="en-US" sz="1800" baseline="0" dirty="0"/>
              <a:t> </a:t>
            </a:r>
            <a:r>
              <a:rPr lang="en-US" sz="1800" baseline="0" dirty="0">
                <a:hlinkClick r:id="rId3"/>
              </a:rPr>
              <a:t>https://azure.microsoft.com/en-us/documentation/articles/data-factory-create-datasets/</a:t>
            </a:r>
            <a:r>
              <a:rPr lang="en-US" sz="1800" baseline="0" dirty="0"/>
              <a:t>  </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4791962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hlinkClick r:id="rId3"/>
              </a:rPr>
              <a:t>https://azure.microsoft.com/en-us/documentation/articles/data-factory-build-your-first-pipeline-using-editor/</a:t>
            </a:r>
            <a:r>
              <a:rPr lang="en-US" dirty="0"/>
              <a:t> </a:t>
            </a:r>
          </a:p>
          <a:p>
            <a:pPr marL="228600" indent="-228600">
              <a:buFont typeface="+mj-lt"/>
              <a:buAutoNum type="arabicPeriod"/>
            </a:pPr>
            <a:endParaRPr lang="en-US" dirty="0"/>
          </a:p>
          <a:p>
            <a:pPr marL="0" indent="0">
              <a:buFont typeface="+mj-lt"/>
              <a:buNone/>
            </a:pPr>
            <a:r>
              <a:rPr lang="en-US" sz="900" dirty="0"/>
              <a:t>AzureBlobOutput.txt:</a:t>
            </a:r>
          </a:p>
          <a:p>
            <a:pPr marL="0" indent="0">
              <a:buFont typeface="+mj-lt"/>
              <a:buNone/>
            </a:pPr>
            <a:r>
              <a:rPr lang="en-US" sz="900" dirty="0"/>
              <a:t>{</a:t>
            </a:r>
          </a:p>
          <a:p>
            <a:pPr marL="0" indent="0">
              <a:buFont typeface="+mj-lt"/>
              <a:buNone/>
            </a:pPr>
            <a:r>
              <a:rPr lang="en-US" sz="900" dirty="0"/>
              <a:t>  "name": "</a:t>
            </a:r>
            <a:r>
              <a:rPr lang="en-US" sz="900" dirty="0" err="1"/>
              <a:t>AzureBlobOutput</a:t>
            </a:r>
            <a:r>
              <a:rPr lang="en-US" sz="900" dirty="0"/>
              <a:t>",</a:t>
            </a:r>
          </a:p>
          <a:p>
            <a:pPr marL="0" indent="0">
              <a:buFont typeface="+mj-lt"/>
              <a:buNone/>
            </a:pPr>
            <a:r>
              <a:rPr lang="en-US" sz="900" dirty="0"/>
              <a:t>  "properties": {</a:t>
            </a:r>
          </a:p>
          <a:p>
            <a:pPr marL="0" indent="0">
              <a:buFont typeface="+mj-lt"/>
              <a:buNone/>
            </a:pPr>
            <a:r>
              <a:rPr lang="en-US" sz="900" dirty="0"/>
              <a:t>    "type": "</a:t>
            </a:r>
            <a:r>
              <a:rPr lang="en-US" sz="900" dirty="0" err="1"/>
              <a:t>AzureBlob</a:t>
            </a:r>
            <a:r>
              <a:rPr lang="en-US" sz="900" dirty="0"/>
              <a:t>",</a:t>
            </a:r>
          </a:p>
          <a:p>
            <a:pPr marL="0" indent="0">
              <a:buFont typeface="+mj-lt"/>
              <a:buNone/>
            </a:pPr>
            <a:r>
              <a:rPr lang="en-US" sz="900" dirty="0"/>
              <a:t>    "</a:t>
            </a:r>
            <a:r>
              <a:rPr lang="en-US" sz="900" dirty="0" err="1"/>
              <a:t>linkedServiceName</a:t>
            </a:r>
            <a:r>
              <a:rPr lang="en-US" sz="900" dirty="0"/>
              <a:t>": "</a:t>
            </a:r>
            <a:r>
              <a:rPr lang="en-US" sz="900" dirty="0" err="1"/>
              <a:t>StorageLinkedService</a:t>
            </a:r>
            <a:r>
              <a:rPr lang="en-US" sz="900" dirty="0"/>
              <a:t>",</a:t>
            </a:r>
          </a:p>
          <a:p>
            <a:pPr marL="0" indent="0">
              <a:buFont typeface="+mj-lt"/>
              <a:buNone/>
            </a:pPr>
            <a:r>
              <a:rPr lang="en-US" sz="900" dirty="0"/>
              <a:t>    "</a:t>
            </a:r>
            <a:r>
              <a:rPr lang="en-US" sz="900" dirty="0" err="1"/>
              <a:t>typeProperties</a:t>
            </a:r>
            <a:r>
              <a:rPr lang="en-US" sz="900" dirty="0"/>
              <a:t>": {</a:t>
            </a:r>
          </a:p>
          <a:p>
            <a:pPr marL="0" indent="0">
              <a:buFont typeface="+mj-lt"/>
              <a:buNone/>
            </a:pPr>
            <a:r>
              <a:rPr lang="en-US" sz="900" dirty="0"/>
              <a:t>      "</a:t>
            </a:r>
            <a:r>
              <a:rPr lang="en-US" sz="900" dirty="0" err="1"/>
              <a:t>folderPath</a:t>
            </a:r>
            <a:r>
              <a:rPr lang="en-US" sz="900" dirty="0"/>
              <a:t>": "data/</a:t>
            </a:r>
            <a:r>
              <a:rPr lang="en-US" sz="900" dirty="0" err="1"/>
              <a:t>partitioneddata</a:t>
            </a:r>
            <a:r>
              <a:rPr lang="en-US" sz="900" dirty="0"/>
              <a:t>",</a:t>
            </a:r>
          </a:p>
          <a:p>
            <a:pPr marL="0" indent="0">
              <a:buFont typeface="+mj-lt"/>
              <a:buNone/>
            </a:pPr>
            <a:r>
              <a:rPr lang="en-US" sz="900" dirty="0"/>
              <a:t>      "format": {</a:t>
            </a:r>
          </a:p>
          <a:p>
            <a:pPr marL="0" indent="0">
              <a:buFont typeface="+mj-lt"/>
              <a:buNone/>
            </a:pPr>
            <a:r>
              <a:rPr lang="en-US" sz="900" dirty="0"/>
              <a:t>        "type": "</a:t>
            </a:r>
            <a:r>
              <a:rPr lang="en-US" sz="900" dirty="0" err="1"/>
              <a:t>TextFormat</a:t>
            </a:r>
            <a:r>
              <a:rPr lang="en-US" sz="900" dirty="0"/>
              <a:t>",</a:t>
            </a:r>
          </a:p>
          <a:p>
            <a:pPr marL="0" indent="0">
              <a:buFont typeface="+mj-lt"/>
              <a:buNone/>
            </a:pPr>
            <a:r>
              <a:rPr lang="en-US" sz="900" dirty="0"/>
              <a:t>        "</a:t>
            </a:r>
            <a:r>
              <a:rPr lang="en-US" sz="900" dirty="0" err="1"/>
              <a:t>columnDelimiter</a:t>
            </a:r>
            <a:r>
              <a:rPr lang="en-US" sz="900" dirty="0"/>
              <a:t>": ","</a:t>
            </a:r>
          </a:p>
          <a:p>
            <a:pPr marL="0" indent="0">
              <a:buFont typeface="+mj-lt"/>
              <a:buNone/>
            </a:pPr>
            <a:r>
              <a:rPr lang="en-US" sz="900" dirty="0"/>
              <a:t>      }</a:t>
            </a:r>
          </a:p>
          <a:p>
            <a:pPr marL="0" indent="0">
              <a:buFont typeface="+mj-lt"/>
              <a:buNone/>
            </a:pPr>
            <a:r>
              <a:rPr lang="en-US" sz="900" dirty="0"/>
              <a:t>    },</a:t>
            </a:r>
          </a:p>
          <a:p>
            <a:pPr marL="0" indent="0">
              <a:buFont typeface="+mj-lt"/>
              <a:buNone/>
            </a:pPr>
            <a:r>
              <a:rPr lang="en-US" sz="900" dirty="0"/>
              <a:t>    "availability": {</a:t>
            </a:r>
          </a:p>
          <a:p>
            <a:pPr marL="0" indent="0">
              <a:buFont typeface="+mj-lt"/>
              <a:buNone/>
            </a:pPr>
            <a:r>
              <a:rPr lang="en-US" sz="900" dirty="0"/>
              <a:t>      "frequency": "Month",</a:t>
            </a:r>
          </a:p>
          <a:p>
            <a:pPr marL="0" indent="0">
              <a:buFont typeface="+mj-lt"/>
              <a:buNone/>
            </a:pPr>
            <a:r>
              <a:rPr lang="en-US" sz="900" dirty="0"/>
              <a:t>      "interval": 1</a:t>
            </a:r>
          </a:p>
          <a:p>
            <a:pPr marL="0" indent="0">
              <a:buFont typeface="+mj-lt"/>
              <a:buNone/>
            </a:pPr>
            <a:r>
              <a:rPr lang="en-US" sz="900" dirty="0"/>
              <a:t>    }</a:t>
            </a:r>
          </a:p>
          <a:p>
            <a:pPr marL="0" indent="0">
              <a:buFont typeface="+mj-lt"/>
              <a:buNone/>
            </a:pPr>
            <a:r>
              <a:rPr lang="en-US" sz="900" dirty="0"/>
              <a:t>  }</a:t>
            </a:r>
          </a:p>
          <a:p>
            <a:pPr marL="0" indent="0">
              <a:buFont typeface="+mj-lt"/>
              <a:buNone/>
            </a:pPr>
            <a:r>
              <a:rPr lang="en-US" sz="900" dirty="0"/>
              <a:t>}</a:t>
            </a:r>
          </a:p>
          <a:p>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479264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This process largely follows the CRISP-DM model: </a:t>
            </a:r>
            <a:r>
              <a:rPr lang="en-US" sz="1800" dirty="0">
                <a:hlinkClick r:id="rId3"/>
              </a:rPr>
              <a:t>http://www.sv-europe.com/crisp-dm-methodology/</a:t>
            </a:r>
            <a:r>
              <a:rPr lang="en-US" sz="1800" dirty="0"/>
              <a:t>  </a:t>
            </a:r>
          </a:p>
          <a:p>
            <a:pPr marL="228600" indent="-228600">
              <a:buFont typeface="+mj-lt"/>
              <a:buAutoNum type="arabicPeriod"/>
            </a:pPr>
            <a:r>
              <a:rPr lang="en-US" sz="1800" dirty="0"/>
              <a:t>It also references the Cortana Intelligence process: </a:t>
            </a:r>
            <a:r>
              <a:rPr lang="en-US" sz="1800" dirty="0">
                <a:hlinkClick r:id="rId4"/>
              </a:rPr>
              <a:t>https://azure.microsoft.com/en-us/documentation/articles/data-science-process-overview/</a:t>
            </a:r>
            <a:r>
              <a:rPr lang="en-US" sz="1800" dirty="0"/>
              <a:t>  </a:t>
            </a:r>
          </a:p>
          <a:p>
            <a:pPr marL="228600" indent="-228600">
              <a:buFont typeface="+mj-lt"/>
              <a:buAutoNum type="arabicPeriod"/>
            </a:pPr>
            <a:r>
              <a:rPr lang="en-US" sz="1800" dirty="0"/>
              <a:t>A complete process diagram</a:t>
            </a:r>
            <a:r>
              <a:rPr lang="en-US" sz="1800" baseline="0" dirty="0"/>
              <a:t> is here: </a:t>
            </a:r>
            <a:r>
              <a:rPr lang="en-US" sz="1800" dirty="0">
                <a:hlinkClick r:id="rId5"/>
              </a:rPr>
              <a:t>https://azure.microsoft.com/en-us/documentation/learning-paths/cortana-analytics-process/</a:t>
            </a:r>
            <a:r>
              <a:rPr lang="en-US" sz="1800" dirty="0"/>
              <a:t> </a:t>
            </a:r>
          </a:p>
          <a:p>
            <a:pPr marL="228600" indent="-228600">
              <a:buFont typeface="+mj-lt"/>
              <a:buAutoNum type="arabicPeriod"/>
            </a:pPr>
            <a:r>
              <a:rPr lang="en-US" sz="1800" dirty="0"/>
              <a:t>Some walkthrough’s of the various services: </a:t>
            </a:r>
            <a:r>
              <a:rPr lang="en-US" sz="1800" dirty="0">
                <a:hlinkClick r:id="rId6"/>
              </a:rPr>
              <a:t>https://azure.microsoft.com/en-us/documentation/articles/data-science-process-walkthroughs/</a:t>
            </a:r>
            <a:r>
              <a:rPr lang="en-US" sz="1800" dirty="0"/>
              <a:t>  </a:t>
            </a:r>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a:t>
            </a:r>
            <a:r>
              <a:rPr lang="en-US" sz="1800" baseline="0" dirty="0" err="1"/>
              <a:t>tio</a:t>
            </a:r>
            <a:r>
              <a:rPr lang="en-US" sz="1800" baseline="0" dirty="0"/>
              <a:t> management and monitor</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335161282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en the </a:t>
            </a:r>
            <a:r>
              <a:rPr lang="en-US" sz="1800" b="1" kern="1200" dirty="0">
                <a:solidFill>
                  <a:schemeClr val="tx1"/>
                </a:solidFill>
                <a:latin typeface="Segoe UI Light" pitchFamily="34" charset="0"/>
                <a:ea typeface="+mn-ea"/>
                <a:cs typeface="+mn-cs"/>
              </a:rPr>
              <a:t>ADF Student Workbook </a:t>
            </a:r>
            <a:r>
              <a:rPr lang="en-US" sz="1800" kern="1200" dirty="0">
                <a:solidFill>
                  <a:schemeClr val="tx1"/>
                </a:solidFill>
                <a:latin typeface="Segoe UI Light" pitchFamily="34" charset="0"/>
                <a:ea typeface="+mn-ea"/>
                <a:cs typeface="+mn-cs"/>
              </a:rPr>
              <a:t>file from your \Resources folder</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Follow the steps for Lab 4</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33597659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Main Pipeline Documentation: </a:t>
            </a:r>
            <a:r>
              <a:rPr lang="en-US" dirty="0">
                <a:hlinkClick r:id="rId3"/>
              </a:rPr>
              <a:t>https://azure.microsoft.com/en-us/documentation/articles/data-factory-create-pipelines/</a:t>
            </a:r>
            <a:r>
              <a:rPr lang="en-US"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40828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hlinkClick r:id="rId3"/>
              </a:rPr>
              <a:t>https://azure.microsoft.com/en-us/documentation/articles/data-factory-build-your-first-pipeline-using-editor/</a:t>
            </a:r>
            <a:r>
              <a:rPr lang="en-US" dirty="0"/>
              <a:t> </a:t>
            </a:r>
          </a:p>
          <a:p>
            <a:pPr marL="228600" indent="-228600">
              <a:buFont typeface="+mj-lt"/>
              <a:buAutoNum type="arabicPeriod"/>
            </a:pPr>
            <a:r>
              <a:rPr lang="en-US" dirty="0"/>
              <a:t>Activities:</a:t>
            </a:r>
            <a:r>
              <a:rPr lang="en-US" baseline="0" dirty="0"/>
              <a:t> </a:t>
            </a:r>
            <a:r>
              <a:rPr lang="en-US" baseline="0" dirty="0">
                <a:hlinkClick r:id="rId4"/>
              </a:rPr>
              <a:t>https://azure.microsoft.com/en-us/documentation/articles/data-factory-create-pipelines/</a:t>
            </a:r>
            <a:r>
              <a:rPr lang="en-US" baseline="0" dirty="0"/>
              <a:t>  </a:t>
            </a: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186228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en the </a:t>
            </a:r>
            <a:r>
              <a:rPr lang="en-US" sz="1800" b="1" kern="1200" dirty="0">
                <a:solidFill>
                  <a:schemeClr val="tx1"/>
                </a:solidFill>
                <a:latin typeface="Segoe UI Light" pitchFamily="34" charset="0"/>
                <a:ea typeface="+mn-ea"/>
                <a:cs typeface="+mn-cs"/>
              </a:rPr>
              <a:t>ADF Student Workbook </a:t>
            </a:r>
            <a:r>
              <a:rPr lang="en-US" sz="1800" kern="1200" dirty="0">
                <a:solidFill>
                  <a:schemeClr val="tx1"/>
                </a:solidFill>
                <a:latin typeface="Segoe UI Light" pitchFamily="34" charset="0"/>
                <a:ea typeface="+mn-ea"/>
                <a:cs typeface="+mn-cs"/>
              </a:rPr>
              <a:t>file from your \Resources folder</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Follow the steps for Lab 5</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5790190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Main Concepts: </a:t>
            </a:r>
            <a:r>
              <a:rPr lang="en-US" dirty="0">
                <a:hlinkClick r:id="rId3"/>
              </a:rPr>
              <a:t>https://azure.microsoft.com/en-us/documentation/articles/data-factory-monitor-manage-pipelines/</a:t>
            </a:r>
            <a:r>
              <a:rPr lang="en-US"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9981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Power</a:t>
            </a:r>
            <a:r>
              <a:rPr lang="en-US" baseline="0" dirty="0"/>
              <a:t>Shell script to help deal with errors in ADF: </a:t>
            </a:r>
            <a:r>
              <a:rPr lang="en-US" baseline="0" dirty="0">
                <a:hlinkClick r:id="rId3"/>
              </a:rPr>
              <a:t>http://blogs.msdn.com/b/karang/archive/2015/11/13/azure-data-factory-detecting-and-re-running-failed-adf-slices.aspx</a:t>
            </a:r>
            <a:r>
              <a:rPr lang="en-US" baseline="0" dirty="0"/>
              <a:t>  </a:t>
            </a: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821437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63390"/>
            <a:ext cx="6096000" cy="4240530"/>
          </a:xfrm>
        </p:spPr>
        <p:txBody>
          <a:bodyPr/>
          <a:lstStyle/>
          <a:p>
            <a:pPr marL="228600" indent="-228600">
              <a:buFont typeface="+mj-lt"/>
              <a:buAutoNum type="arabicPeriod"/>
            </a:pPr>
            <a:r>
              <a:rPr lang="en-US" sz="1800" dirty="0"/>
              <a:t>Power</a:t>
            </a:r>
            <a:r>
              <a:rPr lang="en-US" sz="1800" baseline="0" dirty="0"/>
              <a:t>Shell script to help deal with errors in ADF: </a:t>
            </a:r>
            <a:r>
              <a:rPr lang="en-US" sz="1800" baseline="0" dirty="0">
                <a:hlinkClick r:id="rId3"/>
              </a:rPr>
              <a:t>http://blogs.msdn.com/b/karang/archive/2015/11/13/azure-data-factory-detecting-and-re-running-failed-adf-slices.aspx</a:t>
            </a:r>
            <a:r>
              <a:rPr lang="en-US" sz="1800" baseline="0" dirty="0"/>
              <a:t>  </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974117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en the </a:t>
            </a:r>
            <a:r>
              <a:rPr lang="en-US" sz="1800" b="1" kern="1200" dirty="0">
                <a:solidFill>
                  <a:schemeClr val="tx1"/>
                </a:solidFill>
                <a:latin typeface="Segoe UI Light" pitchFamily="34" charset="0"/>
                <a:ea typeface="+mn-ea"/>
                <a:cs typeface="+mn-cs"/>
              </a:rPr>
              <a:t>ADF Student Workbook </a:t>
            </a:r>
            <a:r>
              <a:rPr lang="en-US" sz="1800" kern="1200" dirty="0">
                <a:solidFill>
                  <a:schemeClr val="tx1"/>
                </a:solidFill>
                <a:latin typeface="Segoe UI Light" pitchFamily="34" charset="0"/>
                <a:ea typeface="+mn-ea"/>
                <a:cs typeface="+mn-cs"/>
              </a:rPr>
              <a:t>file from your \Resources folder</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Follow the steps for Lab 6</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877311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estions?</a:t>
            </a:r>
          </a:p>
        </p:txBody>
      </p:sp>
      <p:sp>
        <p:nvSpPr>
          <p:cNvPr id="7" name="Slide Number Placeholder 6"/>
          <p:cNvSpPr>
            <a:spLocks noGrp="1"/>
          </p:cNvSpPr>
          <p:nvPr>
            <p:ph type="sldNum" sz="quarter" idx="13"/>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indent="-228600">
              <a:buFont typeface="+mj-lt"/>
              <a:buAutoNum type="arabicPeriod"/>
            </a:pPr>
            <a:r>
              <a:rPr lang="en-US" sz="1200" dirty="0"/>
              <a:t>Platform and Storage: Microsoft Azure – </a:t>
            </a:r>
            <a:r>
              <a:rPr lang="en-US" sz="1200" dirty="0">
                <a:hlinkClick r:id="rId3"/>
              </a:rPr>
              <a:t>http://microsoftazure.com</a:t>
            </a:r>
            <a:r>
              <a:rPr lang="en-US" sz="1200" dirty="0"/>
              <a:t>  Storage: </a:t>
            </a:r>
            <a:r>
              <a:rPr lang="en-US" sz="1200" dirty="0">
                <a:hlinkClick r:id="rId4"/>
              </a:rPr>
              <a:t>https://azure.microsoft.com/en-us/documentation/services/storage/</a:t>
            </a:r>
            <a:r>
              <a:rPr lang="en-US" sz="1200" dirty="0"/>
              <a:t>  </a:t>
            </a:r>
            <a:r>
              <a:rPr lang="en-US" sz="1200" b="1" dirty="0"/>
              <a:t>(Host It)</a:t>
            </a:r>
          </a:p>
          <a:p>
            <a:pPr marL="228600" indent="-228600">
              <a:buFont typeface="+mj-lt"/>
              <a:buAutoNum type="arabicPeriod"/>
            </a:pPr>
            <a:r>
              <a:rPr lang="en-US" sz="1200" dirty="0"/>
              <a:t>Azure Data Catalog: </a:t>
            </a:r>
            <a:r>
              <a:rPr lang="en-US" sz="1200" dirty="0">
                <a:hlinkClick r:id="rId5"/>
              </a:rPr>
              <a:t>http://azure.microsoft.com/en-us/services/data-catalog</a:t>
            </a:r>
            <a:r>
              <a:rPr lang="en-US" sz="1200" dirty="0"/>
              <a:t>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a:t>
            </a:r>
            <a:r>
              <a:rPr lang="en-US" sz="1200" dirty="0">
                <a:hlinkClick r:id="rId6"/>
              </a:rPr>
              <a:t>http://azure.microsoft.com/en-us/services/data-factory/</a:t>
            </a:r>
            <a:r>
              <a:rPr lang="en-US" sz="1200" dirty="0"/>
              <a:t>   </a:t>
            </a:r>
            <a:r>
              <a:rPr lang="en-US" sz="1200" b="1" dirty="0"/>
              <a:t>(Move It)</a:t>
            </a:r>
          </a:p>
          <a:p>
            <a:pPr marL="228600" indent="-228600">
              <a:buFont typeface="+mj-lt"/>
              <a:buAutoNum type="arabicPeriod"/>
            </a:pPr>
            <a:r>
              <a:rPr lang="en-US" sz="1200" dirty="0"/>
              <a:t>Azure Event Hubs: </a:t>
            </a:r>
            <a:r>
              <a:rPr lang="en-US" sz="1200" dirty="0">
                <a:hlinkClick r:id="rId7"/>
              </a:rPr>
              <a:t>http://azure.microsoft.com/en-us/services/event-hubs/</a:t>
            </a:r>
            <a:r>
              <a:rPr lang="en-US" sz="1200" dirty="0"/>
              <a:t>  </a:t>
            </a:r>
            <a:r>
              <a:rPr lang="en-US" sz="1200" b="1" dirty="0"/>
              <a:t>(Bring It)</a:t>
            </a:r>
          </a:p>
          <a:p>
            <a:pPr marL="228600" indent="-228600">
              <a:buFont typeface="+mj-lt"/>
              <a:buAutoNum type="arabicPeriod"/>
            </a:pPr>
            <a:r>
              <a:rPr lang="en-US" sz="1200" dirty="0"/>
              <a:t>Azure Data Lake: </a:t>
            </a:r>
            <a:r>
              <a:rPr lang="en-US" sz="1200" dirty="0">
                <a:hlinkClick r:id="rId8"/>
              </a:rPr>
              <a:t>http://azure.microsoft.com/en-us/campaigns/data-lake/</a:t>
            </a:r>
            <a:r>
              <a:rPr lang="en-US" sz="1200" dirty="0"/>
              <a:t>  </a:t>
            </a:r>
            <a:r>
              <a:rPr lang="en-US" sz="1200" b="1" dirty="0"/>
              <a:t>(Store It)</a:t>
            </a:r>
          </a:p>
          <a:p>
            <a:pPr marL="228600" indent="-228600">
              <a:buFont typeface="+mj-lt"/>
              <a:buAutoNum type="arabicPeriod"/>
            </a:pPr>
            <a:r>
              <a:rPr lang="en-US" sz="1200" dirty="0"/>
              <a:t>Azure </a:t>
            </a:r>
            <a:r>
              <a:rPr lang="en-US" sz="1200" dirty="0" err="1"/>
              <a:t>DocumentDB</a:t>
            </a:r>
            <a:r>
              <a:rPr lang="en-US" sz="1200" dirty="0"/>
              <a:t>: </a:t>
            </a:r>
            <a:r>
              <a:rPr lang="en-US" sz="1200" dirty="0">
                <a:hlinkClick r:id="rId9"/>
              </a:rPr>
              <a:t>https://azure.microsoft.com/en-us/services/documentdb/</a:t>
            </a:r>
            <a:r>
              <a:rPr lang="en-US" sz="1200" dirty="0"/>
              <a:t> , Azure SQL Data Warehouse: </a:t>
            </a:r>
            <a:r>
              <a:rPr lang="en-US" sz="1200" dirty="0">
                <a:hlinkClick r:id="rId10"/>
              </a:rPr>
              <a:t>http://azure.microsoft.com/en-us/services/sql-data-warehouse/</a:t>
            </a:r>
            <a:r>
              <a:rPr lang="en-US" sz="1200" dirty="0"/>
              <a:t>  </a:t>
            </a:r>
            <a:r>
              <a:rPr lang="en-US" sz="1200" b="1" dirty="0"/>
              <a:t>(Relate It)</a:t>
            </a:r>
          </a:p>
          <a:p>
            <a:pPr marL="228600" indent="-228600">
              <a:buFont typeface="+mj-lt"/>
              <a:buAutoNum type="arabicPeriod"/>
            </a:pPr>
            <a:r>
              <a:rPr lang="en-US" sz="1200" dirty="0"/>
              <a:t>Azure Machine Learning: </a:t>
            </a:r>
            <a:r>
              <a:rPr lang="en-US" sz="1200" dirty="0">
                <a:hlinkClick r:id="rId11"/>
              </a:rPr>
              <a:t>http://azure.microsoft.com/en-us/services/machine-learning/</a:t>
            </a:r>
            <a:r>
              <a:rPr lang="en-US" sz="1200" dirty="0"/>
              <a:t>  </a:t>
            </a:r>
            <a:r>
              <a:rPr lang="en-US" sz="1200" b="1" dirty="0"/>
              <a:t>(Learn It)</a:t>
            </a:r>
          </a:p>
          <a:p>
            <a:pPr marL="228600" indent="-228600">
              <a:buFont typeface="+mj-lt"/>
              <a:buAutoNum type="arabicPeriod"/>
            </a:pPr>
            <a:r>
              <a:rPr lang="en-US" sz="1200" dirty="0"/>
              <a:t>Azure HDInsight: </a:t>
            </a:r>
            <a:r>
              <a:rPr lang="en-US" sz="1200" dirty="0">
                <a:hlinkClick r:id="rId12"/>
              </a:rPr>
              <a:t>http://azure.microsoft.com/en-us/services/hdinsight/</a:t>
            </a:r>
            <a:r>
              <a:rPr lang="en-US" sz="1200" dirty="0"/>
              <a:t>  </a:t>
            </a:r>
            <a:r>
              <a:rPr lang="en-US" sz="1200" b="1" dirty="0"/>
              <a:t>(Scale It)</a:t>
            </a:r>
          </a:p>
          <a:p>
            <a:pPr marL="228600" indent="-228600">
              <a:buFont typeface="+mj-lt"/>
              <a:buAutoNum type="arabicPeriod"/>
            </a:pPr>
            <a:r>
              <a:rPr lang="en-US" sz="1200" dirty="0"/>
              <a:t>Azure Stream Analytics: </a:t>
            </a:r>
            <a:r>
              <a:rPr lang="en-US" sz="1200" dirty="0">
                <a:hlinkClick r:id="rId13"/>
              </a:rPr>
              <a:t>http://azure.microsoft.com/en-us/services/stream-analytics/</a:t>
            </a:r>
            <a:r>
              <a:rPr lang="en-US" sz="1200" dirty="0"/>
              <a:t>  </a:t>
            </a:r>
            <a:r>
              <a:rPr lang="en-US" sz="1200" b="1" dirty="0"/>
              <a:t>(Stream It) </a:t>
            </a:r>
          </a:p>
          <a:p>
            <a:pPr marL="228600" indent="-228600">
              <a:buFont typeface="+mj-lt"/>
              <a:buAutoNum type="arabicPeriod"/>
            </a:pPr>
            <a:r>
              <a:rPr lang="en-US" sz="1200" dirty="0"/>
              <a:t>Power BI: </a:t>
            </a:r>
            <a:r>
              <a:rPr lang="en-US" sz="1200" dirty="0">
                <a:hlinkClick r:id="rId14"/>
              </a:rPr>
              <a:t>https://powerbi.microsoft.com/</a:t>
            </a:r>
            <a:r>
              <a:rPr lang="en-US" sz="1200" dirty="0"/>
              <a:t>  </a:t>
            </a:r>
            <a:r>
              <a:rPr lang="en-US" sz="1200" b="1" dirty="0"/>
              <a:t>(See It)</a:t>
            </a:r>
          </a:p>
          <a:p>
            <a:pPr marL="228600" indent="-228600">
              <a:buFont typeface="+mj-lt"/>
              <a:buAutoNum type="arabicPeriod"/>
            </a:pPr>
            <a:r>
              <a:rPr lang="en-US" sz="1200" dirty="0"/>
              <a:t>Cortana: </a:t>
            </a:r>
            <a:r>
              <a:rPr lang="en-US" sz="1200" dirty="0">
                <a:hlinkClick r:id="rId15"/>
              </a:rPr>
              <a:t>http://blogs.windows.com/buildingapps/2014/09/23/cortana-integration-and-speech-recognition-new-code-samples/</a:t>
            </a:r>
            <a:r>
              <a:rPr lang="en-US" sz="1200" dirty="0"/>
              <a:t>  and </a:t>
            </a:r>
            <a:r>
              <a:rPr lang="en-US" sz="1200" dirty="0">
                <a:hlinkClick r:id="rId16"/>
              </a:rPr>
              <a:t>https://blogs.windows.com/buildingapps/2015/08/25/using-cortana-to-interact-with-your-customers-10-by-10/</a:t>
            </a:r>
            <a:r>
              <a:rPr lang="en-US" sz="1200" dirty="0"/>
              <a:t> and </a:t>
            </a:r>
            <a:r>
              <a:rPr lang="en-US" sz="1200" dirty="0">
                <a:hlinkClick r:id="rId17"/>
              </a:rPr>
              <a:t>https://developer.microsoft.com/en-us/Cortana</a:t>
            </a:r>
            <a:r>
              <a:rPr lang="en-US" sz="1200" dirty="0"/>
              <a:t>   </a:t>
            </a:r>
            <a:r>
              <a:rPr lang="en-US" sz="1200" b="1" dirty="0"/>
              <a:t>(Say It)</a:t>
            </a:r>
            <a:endParaRPr lang="en-US" sz="1200" b="0" dirty="0"/>
          </a:p>
          <a:p>
            <a:pPr marL="228600" indent="-228600">
              <a:buFont typeface="+mj-lt"/>
              <a:buAutoNum type="arabicPeriod"/>
            </a:pPr>
            <a:r>
              <a:rPr lang="en-US" sz="1200" b="0" dirty="0"/>
              <a:t>Cognitive Services: </a:t>
            </a:r>
            <a:r>
              <a:rPr lang="en-US" sz="1200" b="0" dirty="0">
                <a:hlinkClick r:id="rId18"/>
              </a:rPr>
              <a:t>https://www.microsoft.com/cognitive-services</a:t>
            </a:r>
            <a:r>
              <a:rPr lang="en-US" sz="1200" b="0" dirty="0"/>
              <a:t>  </a:t>
            </a:r>
          </a:p>
          <a:p>
            <a:pPr marL="228600" indent="-228600">
              <a:buFont typeface="+mj-lt"/>
              <a:buAutoNum type="arabicPeriod"/>
            </a:pPr>
            <a:r>
              <a:rPr lang="en-US" sz="1200" b="0" dirty="0"/>
              <a:t>Bot Framework: </a:t>
            </a:r>
            <a:r>
              <a:rPr lang="en-US" sz="1200" b="0" dirty="0">
                <a:hlinkClick r:id="rId19"/>
              </a:rPr>
              <a:t>https://dev.botframework.com/</a:t>
            </a:r>
            <a:r>
              <a:rPr lang="en-US" sz="1200" b="0" dirty="0"/>
              <a:t>  </a:t>
            </a:r>
          </a:p>
          <a:p>
            <a:pPr marL="228600" indent="-228600">
              <a:buFont typeface="+mj-lt"/>
              <a:buAutoNum type="arabicPeriod"/>
            </a:pPr>
            <a:r>
              <a:rPr lang="en-US" sz="1200" dirty="0"/>
              <a:t>All of the components within the suite: </a:t>
            </a:r>
            <a:r>
              <a:rPr lang="en-US" sz="1200" dirty="0">
                <a:hlinkClick r:id="rId20"/>
              </a:rPr>
              <a:t>https://www.microsoft.com/en-us/server-cloud/cortana-intelligence-suite/what-is-cortana-intelligence.aspx</a:t>
            </a:r>
            <a:r>
              <a:rPr lang="en-US" sz="1200" dirty="0"/>
              <a:t>  </a:t>
            </a:r>
          </a:p>
          <a:p>
            <a:pPr marL="228600" indent="-228600">
              <a:buFont typeface="+mj-lt"/>
              <a:buAutoNum type="arabicPeriod"/>
            </a:pPr>
            <a:r>
              <a:rPr lang="en-US" sz="1200" dirty="0"/>
              <a:t>What can I do with it? </a:t>
            </a:r>
            <a:r>
              <a:rPr lang="en-US" sz="1200" dirty="0">
                <a:hlinkClick r:id="rId21"/>
              </a:rPr>
              <a:t>https://gallery.cortanaintelligence.com/</a:t>
            </a:r>
            <a:r>
              <a:rPr lang="en-US" sz="1200" dirty="0"/>
              <a:t>  </a:t>
            </a:r>
          </a:p>
          <a:p>
            <a:pPr marL="228600" indent="-228600">
              <a:buFont typeface="+mj-lt"/>
              <a:buAutoNum type="arabicPeriod"/>
            </a:pPr>
            <a:r>
              <a:rPr lang="en-US" sz="1200" dirty="0"/>
              <a:t>Getting</a:t>
            </a:r>
            <a:r>
              <a:rPr lang="en-US" sz="1200" baseline="0" dirty="0"/>
              <a:t> Started Quickly: </a:t>
            </a:r>
            <a:r>
              <a:rPr lang="en-US" sz="1200" baseline="0" dirty="0">
                <a:hlinkClick r:id="rId22"/>
              </a:rPr>
              <a:t>https://caqs.azure.net/#gallery</a:t>
            </a:r>
            <a:r>
              <a:rPr lang="en-US" sz="1200" baseline="0" dirty="0"/>
              <a:t>  </a:t>
            </a:r>
            <a:endParaRPr lang="en-US" sz="1200" dirty="0"/>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986459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Depends on the customer - </a:t>
            </a:r>
            <a:r>
              <a:rPr lang="en-US" dirty="0">
                <a:hlinkClick r:id="rId3"/>
              </a:rPr>
              <a:t>https://www.microsoft.com/en-us/cloud-platform/cortana-intelligence-suite-industry-solutions</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2251693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AdventureWorks Data Dictionary:</a:t>
            </a:r>
            <a:r>
              <a:rPr lang="en-US" baseline="0" dirty="0"/>
              <a:t> </a:t>
            </a:r>
            <a:r>
              <a:rPr lang="en-US" baseline="0" dirty="0">
                <a:hlinkClick r:id="rId3"/>
              </a:rPr>
              <a:t>https://technet.microsoft.com/en-us/library/ms124438(v=sql.100).aspx</a:t>
            </a:r>
            <a:r>
              <a:rPr lang="en-US" baseline="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964397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AdventureWorks Data Dictionary:</a:t>
            </a:r>
            <a:r>
              <a:rPr lang="en-US" sz="1800" baseline="0" dirty="0"/>
              <a:t> </a:t>
            </a:r>
            <a:r>
              <a:rPr lang="en-US" sz="1800" baseline="0" dirty="0">
                <a:hlinkClick r:id="rId3"/>
              </a:rPr>
              <a:t>https://technet.microsoft.com/en-us/library/ms124438(v=sql.100).aspx</a:t>
            </a:r>
            <a:r>
              <a:rPr lang="en-US" sz="1800" baseline="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9630036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Processing, querying, and transforming data using HDInsight: </a:t>
            </a:r>
            <a:r>
              <a:rPr lang="en-US" dirty="0">
                <a:hlinkClick r:id="rId3"/>
              </a:rPr>
              <a:t>https://msdn.microsoft.com/en-us/library/dn749822.aspx</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3680401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3.png"/><Relationship Id="rId5" Type="http://schemas.openxmlformats.org/officeDocument/2006/relationships/image" Target="../media/image4.png"/><Relationship Id="rId1" Type="http://schemas.openxmlformats.org/officeDocument/2006/relationships/slideMaster" Target="../slideMasters/slideMaster2.xml"/><Relationship Id="rId2"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 Id="rId3"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7.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8.png"/><Relationship Id="rId3" Type="http://schemas.microsoft.com/office/2007/relationships/hdphoto" Target="../media/hdphoto1.wdp"/></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0.png"/><Relationship Id="rId3" Type="http://schemas.openxmlformats.org/officeDocument/2006/relationships/image" Target="../media/image1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2.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3.png"/><Relationship Id="rId3" Type="http://schemas.openxmlformats.org/officeDocument/2006/relationships/image" Target="../media/image14.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5.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pic>
        <p:nvPicPr>
          <p:cNvPr id="7" name="Picture 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10" name="Rectangle 9"/>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938059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855481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027924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
        <p:nvSpPr>
          <p:cNvPr id="4"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9190107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106528991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4391035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sz="1800" b="0" i="0" u="none" strike="noStrike" kern="0" cap="none" spc="0" normalizeH="0" baseline="0" noProof="0" dirty="0">
                <a:ln>
                  <a:noFill/>
                </a:ln>
                <a:solidFill>
                  <a:srgbClr val="505050"/>
                </a:solidFill>
                <a:effectLst/>
                <a:uLnTx/>
                <a:uFillTx/>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a:t>
            </a:fld>
            <a:endParaRPr kumimoji="0" sz="1800" b="0" i="0" u="none" strike="noStrike" kern="0" cap="none" spc="0" normalizeH="0" baseline="0" noProof="0" dirty="0">
              <a:ln>
                <a:noFill/>
              </a:ln>
              <a:solidFill>
                <a:srgbClr val="505050"/>
              </a:solidFill>
              <a:effectLst/>
              <a:uLnTx/>
              <a:uFillTx/>
            </a:endParaRPr>
          </a:p>
        </p:txBody>
      </p:sp>
      <p:sp>
        <p:nvSpPr>
          <p:cNvPr id="7" name="Text Placeholder 4"/>
          <p:cNvSpPr>
            <a:spLocks noGrp="1"/>
          </p:cNvSpPr>
          <p:nvPr>
            <p:ph type="body" sz="quarter" idx="13"/>
          </p:nvPr>
        </p:nvSpPr>
        <p:spPr>
          <a:xfrm>
            <a:off x="274638" y="369116"/>
            <a:ext cx="10972800" cy="1024684"/>
          </a:xfrm>
          <a:prstGeom prst="rect">
            <a:avLst/>
          </a:prstGeom>
        </p:spPr>
        <p:txBody>
          <a:bodyPr lIns="146304" tIns="91440" rIns="146304" bIns="91440">
            <a:noAutofit/>
          </a:bodyPr>
          <a:lstStyle>
            <a:lvl1pPr marL="0" indent="0" algn="l" defTabSz="932742" rtl="0" eaLnBrk="1" latinLnBrk="0" hangingPunct="1">
              <a:lnSpc>
                <a:spcPct val="90000"/>
              </a:lnSpc>
              <a:spcBef>
                <a:spcPct val="0"/>
              </a:spcBef>
              <a:spcAft>
                <a:spcPts val="2400"/>
              </a:spcAft>
              <a:buFontTx/>
              <a:buNone/>
              <a:defRPr lang="en-US" sz="5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3802063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570246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881"/>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49"/>
            <a:ext cx="5486399" cy="2468881"/>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786243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2464826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438880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82156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2077961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8849682"/>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52779179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sp>
        <p:nvSpPr>
          <p:cNvPr id="10" name="TextBox 9"/>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80296" y="233151"/>
            <a:ext cx="1986146" cy="730297"/>
          </a:xfrm>
          <a:prstGeom prst="rect">
            <a:avLst/>
          </a:prstGeom>
        </p:spPr>
      </p:pic>
      <p:sp>
        <p:nvSpPr>
          <p:cNvPr id="15" name="TextBox 14"/>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
        <p:nvSpPr>
          <p:cNvPr id="14" name="TextBox 13"/>
          <p:cNvSpPr txBox="1"/>
          <p:nvPr userDrawn="1"/>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Tree>
    <p:extLst>
      <p:ext uri="{BB962C8B-B14F-4D97-AF65-F5344CB8AC3E}">
        <p14:creationId xmlns:p14="http://schemas.microsoft.com/office/powerpoint/2010/main" val="396364108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spTree>
    <p:extLst>
      <p:ext uri="{BB962C8B-B14F-4D97-AF65-F5344CB8AC3E}">
        <p14:creationId xmlns:p14="http://schemas.microsoft.com/office/powerpoint/2010/main" val="3942683834"/>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6"/>
            <a:ext cx="12128721"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43199" y="6606832"/>
            <a:ext cx="8550077" cy="387694"/>
          </a:xfrm>
        </p:spPr>
        <p:txBody>
          <a:bodyPr/>
          <a:lstStyle/>
          <a:p>
            <a:endParaRPr lang="en-US" dirty="0">
              <a:solidFill>
                <a:srgbClr val="505050"/>
              </a:solidFill>
            </a:endParaRPr>
          </a:p>
        </p:txBody>
      </p:sp>
    </p:spTree>
    <p:extLst>
      <p:ext uri="{BB962C8B-B14F-4D97-AF65-F5344CB8AC3E}">
        <p14:creationId xmlns:p14="http://schemas.microsoft.com/office/powerpoint/2010/main" val="144525364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109758"/>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67027091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7279" indent="0">
              <a:buNone/>
              <a:defRPr>
                <a:solidFill>
                  <a:schemeClr val="tx1"/>
                </a:solidFill>
                <a:latin typeface="Courier New" pitchFamily="49" charset="0"/>
                <a:cs typeface="Courier New" pitchFamily="49" charset="0"/>
              </a:defRPr>
            </a:lvl2pPr>
            <a:lvl3pPr marL="600187" indent="0">
              <a:buNone/>
              <a:defRPr>
                <a:solidFill>
                  <a:schemeClr val="tx1"/>
                </a:solidFill>
                <a:latin typeface="Courier New" pitchFamily="49" charset="0"/>
                <a:cs typeface="Courier New" pitchFamily="49" charset="0"/>
              </a:defRPr>
            </a:lvl3pPr>
            <a:lvl4pPr marL="887466" indent="0">
              <a:buNone/>
              <a:defRPr>
                <a:solidFill>
                  <a:schemeClr val="tx1"/>
                </a:solidFill>
                <a:latin typeface="Courier New" pitchFamily="49" charset="0"/>
                <a:cs typeface="Courier New" pitchFamily="49" charset="0"/>
              </a:defRPr>
            </a:lvl4pPr>
            <a:lvl5pPr marL="1127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21939934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90961452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6"/>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7" y="3954464"/>
            <a:ext cx="10262765" cy="18743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5397835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5"/>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7544776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62901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chemeClr val="tx1"/>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6301472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706787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337546886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92822061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3C52C2B-7042-40BF-8872-17B0983F4A66}" type="datetimeFigureOut">
              <a:rPr lang="en-US" smtClean="0"/>
              <a:t>4/4/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7572723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4/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8288599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3C52C2B-7042-40BF-8872-17B0983F4A66}" type="datetimeFigureOut">
              <a:rPr lang="en-US" smtClean="0"/>
              <a:t>4/4/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6507936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3C52C2B-7042-40BF-8872-17B0983F4A66}" type="datetimeFigureOut">
              <a:rPr lang="en-US" smtClean="0"/>
              <a:t>4/4/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6288108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3C52C2B-7042-40BF-8872-17B0983F4A66}" type="datetimeFigureOut">
              <a:rPr lang="en-US" smtClean="0"/>
              <a:t>4/4/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72404445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3C52C2B-7042-40BF-8872-17B0983F4A66}" type="datetimeFigureOut">
              <a:rPr lang="en-US" smtClean="0"/>
              <a:t>4/4/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3425231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C52C2B-7042-40BF-8872-17B0983F4A66}" type="datetimeFigureOut">
              <a:rPr lang="en-US" smtClean="0"/>
              <a:t>4/4/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2374381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4/4/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94198044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4/4/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8940101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4/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37177103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4/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9764630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9069969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6160658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b="0">
                <a:solidFill>
                  <a:schemeClr val="tx1"/>
                </a:solidFill>
              </a:defRPr>
            </a:lvl1pPr>
          </a:lstStyle>
          <a:p>
            <a:r>
              <a:rPr lang="en-US"/>
              <a:t>Click to edit Master title style</a:t>
            </a:r>
          </a:p>
        </p:txBody>
      </p:sp>
      <p:sp>
        <p:nvSpPr>
          <p:cNvPr id="3" name="Subtitle 2"/>
          <p:cNvSpPr>
            <a:spLocks noGrp="1"/>
          </p:cNvSpPr>
          <p:nvPr>
            <p:ph type="subTitle" idx="1"/>
          </p:nvPr>
        </p:nvSpPr>
        <p:spPr>
          <a:xfrm>
            <a:off x="1554560" y="3673745"/>
            <a:ext cx="9327356" cy="1688725"/>
          </a:xfrm>
        </p:spPr>
        <p:txBody>
          <a:bodyPr/>
          <a:lstStyle>
            <a:lvl1pPr marL="0" indent="0" algn="ctr">
              <a:buNone/>
              <a:defRPr sz="2448"/>
            </a:lvl1pPr>
            <a:lvl2pPr marL="466287" indent="0" algn="ctr">
              <a:buNone/>
              <a:defRPr sz="2040"/>
            </a:lvl2pPr>
            <a:lvl3pPr marL="932573" indent="0" algn="ctr">
              <a:buNone/>
              <a:defRPr sz="1836"/>
            </a:lvl3pPr>
            <a:lvl4pPr marL="1398860" indent="0" algn="ctr">
              <a:buNone/>
              <a:defRPr sz="1632"/>
            </a:lvl4pPr>
            <a:lvl5pPr marL="1865146" indent="0" algn="ctr">
              <a:buNone/>
              <a:defRPr sz="1632"/>
            </a:lvl5pPr>
            <a:lvl6pPr marL="2331433" indent="0" algn="ctr">
              <a:buNone/>
              <a:defRPr sz="1632"/>
            </a:lvl6pPr>
            <a:lvl7pPr marL="2797719" indent="0" algn="ctr">
              <a:buNone/>
              <a:defRPr sz="1632"/>
            </a:lvl7pPr>
            <a:lvl8pPr marL="3264006" indent="0" algn="ctr">
              <a:buNone/>
              <a:defRPr sz="1632"/>
            </a:lvl8pPr>
            <a:lvl9pPr marL="3730293" indent="0" algn="ctr">
              <a:buNone/>
              <a:defRPr sz="1632"/>
            </a:lvl9pPr>
          </a:lstStyle>
          <a:p>
            <a:r>
              <a:rPr lang="en-US"/>
              <a:t>Click to edit Master subtitle style</a:t>
            </a:r>
          </a:p>
        </p:txBody>
      </p:sp>
    </p:spTree>
    <p:extLst>
      <p:ext uri="{BB962C8B-B14F-4D97-AF65-F5344CB8AC3E}">
        <p14:creationId xmlns:p14="http://schemas.microsoft.com/office/powerpoint/2010/main" val="3270861867"/>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694681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4/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1701516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415252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solidFill>
                  <a:schemeClr val="bg1"/>
                </a:soli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solidFill>
                  <a:schemeClr val="bg1"/>
                </a:soli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22727069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sz="1800" b="0" i="0" u="none" strike="noStrike" kern="0" cap="none" spc="0" normalizeH="0" baseline="0" noProof="0" dirty="0">
                <a:ln>
                  <a:noFill/>
                </a:ln>
                <a:solidFill>
                  <a:srgbClr val="505050"/>
                </a:solidFill>
                <a:effectLst/>
                <a:uLnTx/>
                <a:uFillTx/>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a:t>
            </a:fld>
            <a:endParaRPr kumimoji="0" sz="1800" b="0" i="0" u="none" strike="noStrike" kern="0" cap="none" spc="0" normalizeH="0" baseline="0" noProof="0" dirty="0">
              <a:ln>
                <a:noFill/>
              </a:ln>
              <a:solidFill>
                <a:srgbClr val="505050"/>
              </a:solidFill>
              <a:effectLst/>
              <a:uLnTx/>
              <a:uFillTx/>
            </a:endParaRPr>
          </a:p>
        </p:txBody>
      </p:sp>
      <p:sp>
        <p:nvSpPr>
          <p:cNvPr id="7" name="Text Placeholder 4"/>
          <p:cNvSpPr>
            <a:spLocks noGrp="1"/>
          </p:cNvSpPr>
          <p:nvPr>
            <p:ph type="body" sz="quarter" idx="13"/>
          </p:nvPr>
        </p:nvSpPr>
        <p:spPr>
          <a:xfrm>
            <a:off x="274638" y="369116"/>
            <a:ext cx="10972800" cy="1024684"/>
          </a:xfrm>
          <a:prstGeom prst="rect">
            <a:avLst/>
          </a:prstGeom>
        </p:spPr>
        <p:txBody>
          <a:bodyPr lIns="146304" tIns="91440" rIns="146304" bIns="91440">
            <a:noAutofit/>
          </a:bodyPr>
          <a:lstStyle>
            <a:lvl1pPr marL="0" indent="0" algn="l" defTabSz="932742" rtl="0" eaLnBrk="1" latinLnBrk="0" hangingPunct="1">
              <a:lnSpc>
                <a:spcPct val="90000"/>
              </a:lnSpc>
              <a:spcBef>
                <a:spcPct val="0"/>
              </a:spcBef>
              <a:spcAft>
                <a:spcPts val="2400"/>
              </a:spcAft>
              <a:buFontTx/>
              <a:buNone/>
              <a:defRPr lang="en-US" sz="5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17471841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88785596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theme" Target="../theme/theme1.xml"/><Relationship Id="rId11"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4" Type="http://schemas.openxmlformats.org/officeDocument/2006/relationships/slideLayout" Target="../slideLayouts/slideLayout13.xml"/><Relationship Id="rId5" Type="http://schemas.openxmlformats.org/officeDocument/2006/relationships/slideLayout" Target="../slideLayouts/slideLayout14.xml"/><Relationship Id="rId6" Type="http://schemas.openxmlformats.org/officeDocument/2006/relationships/slideLayout" Target="../slideLayouts/slideLayout15.xml"/><Relationship Id="rId7" Type="http://schemas.openxmlformats.org/officeDocument/2006/relationships/slideLayout" Target="../slideLayouts/slideLayout16.xml"/><Relationship Id="rId8" Type="http://schemas.openxmlformats.org/officeDocument/2006/relationships/slideLayout" Target="../slideLayouts/slideLayout17.xml"/><Relationship Id="rId9" Type="http://schemas.openxmlformats.org/officeDocument/2006/relationships/slideLayout" Target="../slideLayouts/slideLayout18.xml"/><Relationship Id="rId10" Type="http://schemas.openxmlformats.org/officeDocument/2006/relationships/theme" Target="../theme/theme2.xml"/><Relationship Id="rId11" Type="http://schemas.openxmlformats.org/officeDocument/2006/relationships/image" Target="../media/image1.png"/><Relationship Id="rId1" Type="http://schemas.openxmlformats.org/officeDocument/2006/relationships/slideLayout" Target="../slideLayouts/slideLayout10.xml"/><Relationship Id="rId2"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1.xml"/><Relationship Id="rId4" Type="http://schemas.openxmlformats.org/officeDocument/2006/relationships/slideLayout" Target="../slideLayouts/slideLayout22.xml"/><Relationship Id="rId5" Type="http://schemas.openxmlformats.org/officeDocument/2006/relationships/slideLayout" Target="../slideLayouts/slideLayout23.xml"/><Relationship Id="rId6" Type="http://schemas.openxmlformats.org/officeDocument/2006/relationships/slideLayout" Target="../slideLayouts/slideLayout24.xml"/><Relationship Id="rId7" Type="http://schemas.openxmlformats.org/officeDocument/2006/relationships/theme" Target="../theme/theme3.xml"/><Relationship Id="rId8" Type="http://schemas.openxmlformats.org/officeDocument/2006/relationships/image" Target="../media/image1.png"/><Relationship Id="rId1" Type="http://schemas.openxmlformats.org/officeDocument/2006/relationships/slideLayout" Target="../slideLayouts/slideLayout19.xml"/><Relationship Id="rId2"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11" Type="http://schemas.openxmlformats.org/officeDocument/2006/relationships/slideLayout" Target="../slideLayouts/slideLayout35.xml"/><Relationship Id="rId12" Type="http://schemas.openxmlformats.org/officeDocument/2006/relationships/slideLayout" Target="../slideLayouts/slideLayout36.xml"/><Relationship Id="rId13" Type="http://schemas.openxmlformats.org/officeDocument/2006/relationships/slideLayout" Target="../slideLayouts/slideLayout37.xml"/><Relationship Id="rId14" Type="http://schemas.openxmlformats.org/officeDocument/2006/relationships/theme" Target="../theme/theme4.xml"/><Relationship Id="rId15" Type="http://schemas.openxmlformats.org/officeDocument/2006/relationships/vmlDrawing" Target="../drawings/vmlDrawing1.vml"/><Relationship Id="rId16" Type="http://schemas.openxmlformats.org/officeDocument/2006/relationships/tags" Target="../tags/tag1.xml"/><Relationship Id="rId17" Type="http://schemas.openxmlformats.org/officeDocument/2006/relationships/oleObject" Target="../embeddings/oleObject1.bin"/><Relationship Id="rId18" Type="http://schemas.openxmlformats.org/officeDocument/2006/relationships/image" Target="../media/image9.emf"/><Relationship Id="rId1" Type="http://schemas.openxmlformats.org/officeDocument/2006/relationships/slideLayout" Target="../slideLayouts/slideLayout25.xml"/><Relationship Id="rId2" Type="http://schemas.openxmlformats.org/officeDocument/2006/relationships/slideLayout" Target="../slideLayouts/slideLayout26.xml"/><Relationship Id="rId3" Type="http://schemas.openxmlformats.org/officeDocument/2006/relationships/slideLayout" Target="../slideLayouts/slideLayout27.xml"/><Relationship Id="rId4" Type="http://schemas.openxmlformats.org/officeDocument/2006/relationships/slideLayout" Target="../slideLayouts/slideLayout28.xml"/><Relationship Id="rId5" Type="http://schemas.openxmlformats.org/officeDocument/2006/relationships/slideLayout" Target="../slideLayouts/slideLayout29.xml"/><Relationship Id="rId6" Type="http://schemas.openxmlformats.org/officeDocument/2006/relationships/slideLayout" Target="../slideLayouts/slideLayout30.xml"/><Relationship Id="rId7" Type="http://schemas.openxmlformats.org/officeDocument/2006/relationships/slideLayout" Target="../slideLayouts/slideLayout31.xml"/><Relationship Id="rId8" Type="http://schemas.openxmlformats.org/officeDocument/2006/relationships/slideLayout" Target="../slideLayouts/slideLayout32.xml"/><Relationship Id="rId9" Type="http://schemas.openxmlformats.org/officeDocument/2006/relationships/slideLayout" Target="../slideLayouts/slideLayout33.xml"/><Relationship Id="rId10" Type="http://schemas.openxmlformats.org/officeDocument/2006/relationships/slideLayout" Target="../slideLayouts/slideLayout34.xml"/></Relationships>
</file>

<file path=ppt/slideMasters/_rels/slideMaster5.xml.rels><?xml version="1.0" encoding="UTF-8" standalone="yes"?>
<Relationships xmlns="http://schemas.openxmlformats.org/package/2006/relationships"><Relationship Id="rId11" Type="http://schemas.openxmlformats.org/officeDocument/2006/relationships/slideLayout" Target="../slideLayouts/slideLayout48.xml"/><Relationship Id="rId12" Type="http://schemas.openxmlformats.org/officeDocument/2006/relationships/slideLayout" Target="../slideLayouts/slideLayout49.xml"/><Relationship Id="rId13" Type="http://schemas.openxmlformats.org/officeDocument/2006/relationships/theme" Target="../theme/theme5.xml"/><Relationship Id="rId1" Type="http://schemas.openxmlformats.org/officeDocument/2006/relationships/slideLayout" Target="../slideLayouts/slideLayout38.xml"/><Relationship Id="rId2" Type="http://schemas.openxmlformats.org/officeDocument/2006/relationships/slideLayout" Target="../slideLayouts/slideLayout39.xml"/><Relationship Id="rId3" Type="http://schemas.openxmlformats.org/officeDocument/2006/relationships/slideLayout" Target="../slideLayouts/slideLayout40.xml"/><Relationship Id="rId4" Type="http://schemas.openxmlformats.org/officeDocument/2006/relationships/slideLayout" Target="../slideLayouts/slideLayout41.xml"/><Relationship Id="rId5" Type="http://schemas.openxmlformats.org/officeDocument/2006/relationships/slideLayout" Target="../slideLayouts/slideLayout42.xml"/><Relationship Id="rId6" Type="http://schemas.openxmlformats.org/officeDocument/2006/relationships/slideLayout" Target="../slideLayouts/slideLayout43.xml"/><Relationship Id="rId7" Type="http://schemas.openxmlformats.org/officeDocument/2006/relationships/slideLayout" Target="../slideLayouts/slideLayout44.xml"/><Relationship Id="rId8" Type="http://schemas.openxmlformats.org/officeDocument/2006/relationships/slideLayout" Target="../slideLayouts/slideLayout45.xml"/><Relationship Id="rId9" Type="http://schemas.openxmlformats.org/officeDocument/2006/relationships/slideLayout" Target="../slideLayouts/slideLayout46.xml"/><Relationship Id="rId10" Type="http://schemas.openxmlformats.org/officeDocument/2006/relationships/slideLayout" Target="../slideLayouts/slideLayout47.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52.xml"/><Relationship Id="rId4" Type="http://schemas.openxmlformats.org/officeDocument/2006/relationships/theme" Target="../theme/theme6.xml"/><Relationship Id="rId1" Type="http://schemas.openxmlformats.org/officeDocument/2006/relationships/slideLayout" Target="../slideLayouts/slideLayout50.xml"/><Relationship Id="rId2"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1"/>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40" r:id="rId1"/>
    <p:sldLayoutId id="2147484247" r:id="rId2"/>
    <p:sldLayoutId id="2147484256" r:id="rId3"/>
    <p:sldLayoutId id="2147484257" r:id="rId4"/>
    <p:sldLayoutId id="2147484268" r:id="rId5"/>
    <p:sldLayoutId id="2147484524" r:id="rId6"/>
    <p:sldLayoutId id="2147484525" r:id="rId7"/>
    <p:sldLayoutId id="2147484526" r:id="rId8"/>
    <p:sldLayoutId id="2147484527" r:id="rId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bg1"/>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bg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1"/>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11"/>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082942347"/>
      </p:ext>
    </p:extLst>
  </p:cSld>
  <p:clrMap bg1="lt1" tx1="dk1" bg2="lt2" tx2="dk2" accent1="accent1" accent2="accent2" accent3="accent3" accent4="accent4" accent5="accent5" accent6="accent6" hlink="hlink" folHlink="folHlink"/>
  <p:sldLayoutIdLst>
    <p:sldLayoutId id="2147484529" r:id="rId1"/>
    <p:sldLayoutId id="2147484530" r:id="rId2"/>
    <p:sldLayoutId id="2147484531" r:id="rId3"/>
    <p:sldLayoutId id="2147484532" r:id="rId4"/>
    <p:sldLayoutId id="2147484534" r:id="rId5"/>
    <p:sldLayoutId id="2147484535" r:id="rId6"/>
    <p:sldLayoutId id="2147484536" r:id="rId7"/>
    <p:sldLayoutId id="2147484537" r:id="rId8"/>
    <p:sldLayoutId id="2147484576" r:id="rId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909532611"/>
      </p:ext>
    </p:extLst>
  </p:cSld>
  <p:clrMap bg1="lt1" tx1="dk1" bg2="lt2" tx2="dk2" accent1="accent1" accent2="accent2" accent3="accent3" accent4="accent4" accent5="accent5" accent6="accent6" hlink="hlink" folHlink="folHlink"/>
  <p:sldLayoutIdLst>
    <p:sldLayoutId id="2147484539" r:id="rId1"/>
    <p:sldLayoutId id="2147484540" r:id="rId2"/>
    <p:sldLayoutId id="2147484541" r:id="rId3"/>
    <p:sldLayoutId id="2147484542" r:id="rId4"/>
    <p:sldLayoutId id="2147484543" r:id="rId5"/>
    <p:sldLayoutId id="2147484544"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33" name="think-cell Slide" r:id="rId17" imgW="383" imgH="384" progId="TCLayout.ActiveDocument.1">
                  <p:embed/>
                </p:oleObj>
              </mc:Choice>
              <mc:Fallback>
                <p:oleObj name="think-cell Slide" r:id="rId17" imgW="383" imgH="384" progId="TCLayout.ActiveDocument.1">
                  <p:embed/>
                  <p:pic>
                    <p:nvPicPr>
                      <p:cNvPr id="3" name="Object 2" hidden="1"/>
                      <p:cNvPicPr/>
                      <p:nvPr/>
                    </p:nvPicPr>
                    <p:blipFill>
                      <a:blip r:embed="rId1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183220955"/>
      </p:ext>
    </p:extLst>
  </p:cSld>
  <p:clrMap bg1="lt1" tx1="dk1" bg2="lt2" tx2="dk2" accent1="accent1" accent2="accent2" accent3="accent3" accent4="accent4" accent5="accent5" accent6="accent6" hlink="hlink" folHlink="folHlink"/>
  <p:sldLayoutIdLst>
    <p:sldLayoutId id="2147484546" r:id="rId1"/>
    <p:sldLayoutId id="2147484547" r:id="rId2"/>
    <p:sldLayoutId id="2147484548" r:id="rId3"/>
    <p:sldLayoutId id="2147484549" r:id="rId4"/>
    <p:sldLayoutId id="2147484550" r:id="rId5"/>
    <p:sldLayoutId id="2147484551" r:id="rId6"/>
    <p:sldLayoutId id="2147484552" r:id="rId7"/>
    <p:sldLayoutId id="2147484553" r:id="rId8"/>
    <p:sldLayoutId id="2147484554" r:id="rId9"/>
    <p:sldLayoutId id="2147484555" r:id="rId10"/>
    <p:sldLayoutId id="2147484556" r:id="rId11"/>
    <p:sldLayoutId id="2147484557" r:id="rId12"/>
    <p:sldLayoutId id="2147484558" r:id="rId1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93C52C2B-7042-40BF-8872-17B0983F4A66}" type="datetimeFigureOut">
              <a:rPr lang="en-US" smtClean="0"/>
              <a:t>4/4/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B5E599B2-8D78-41B7-BDF2-E3ADBE2383B9}" type="slidenum">
              <a:rPr lang="en-US" smtClean="0"/>
              <a:t>‹#›</a:t>
            </a:fld>
            <a:endParaRPr lang="en-US"/>
          </a:p>
        </p:txBody>
      </p:sp>
    </p:spTree>
    <p:extLst>
      <p:ext uri="{BB962C8B-B14F-4D97-AF65-F5344CB8AC3E}">
        <p14:creationId xmlns:p14="http://schemas.microsoft.com/office/powerpoint/2010/main" val="211771660"/>
      </p:ext>
    </p:extLst>
  </p:cSld>
  <p:clrMap bg1="lt1" tx1="dk1" bg2="lt2" tx2="dk2" accent1="accent1" accent2="accent2" accent3="accent3" accent4="accent4" accent5="accent5" accent6="accent6" hlink="hlink" folHlink="folHlink"/>
  <p:sldLayoutIdLst>
    <p:sldLayoutId id="2147484560" r:id="rId1"/>
    <p:sldLayoutId id="2147484561" r:id="rId2"/>
    <p:sldLayoutId id="2147484562" r:id="rId3"/>
    <p:sldLayoutId id="2147484563" r:id="rId4"/>
    <p:sldLayoutId id="2147484564" r:id="rId5"/>
    <p:sldLayoutId id="2147484565" r:id="rId6"/>
    <p:sldLayoutId id="2147484566" r:id="rId7"/>
    <p:sldLayoutId id="2147484567" r:id="rId8"/>
    <p:sldLayoutId id="2147484568" r:id="rId9"/>
    <p:sldLayoutId id="2147484569" r:id="rId10"/>
    <p:sldLayoutId id="2147484570" r:id="rId11"/>
    <p:sldLayoutId id="2147484571"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bwMode="auto">
          <a:xfrm>
            <a:off x="621824" y="1398905"/>
            <a:ext cx="11192828" cy="4896168"/>
          </a:xfrm>
          <a:prstGeom prst="rect">
            <a:avLst/>
          </a:prstGeom>
          <a:noFill/>
          <a:ln w="9525">
            <a:noFill/>
            <a:miter lim="800000"/>
            <a:headEnd/>
            <a:tailEnd/>
          </a:ln>
        </p:spPr>
        <p:txBody>
          <a:bodyPr vert="horz" wrap="square" lIns="91438" tIns="45719" rIns="91438" bIns="4571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bwMode="auto">
          <a:xfrm>
            <a:off x="621824" y="310868"/>
            <a:ext cx="11192828" cy="777169"/>
          </a:xfrm>
          <a:prstGeom prst="rect">
            <a:avLst/>
          </a:prstGeom>
          <a:noFill/>
          <a:ln w="9525">
            <a:noFill/>
            <a:miter lim="800000"/>
            <a:headEnd/>
            <a:tailEnd/>
          </a:ln>
        </p:spPr>
        <p:txBody>
          <a:bodyPr vert="horz" wrap="square" lIns="91438" tIns="45719" rIns="91438" bIns="45719"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3601053953"/>
      </p:ext>
    </p:extLst>
  </p:cSld>
  <p:clrMap bg1="lt1" tx1="dk1" bg2="lt2" tx2="dk2" accent1="accent1" accent2="accent2" accent3="accent3" accent4="accent4" accent5="accent5" accent6="accent6" hlink="hlink" folHlink="folHlink"/>
  <p:sldLayoutIdLst>
    <p:sldLayoutId id="2147484573" r:id="rId1"/>
    <p:sldLayoutId id="2147484574" r:id="rId2"/>
    <p:sldLayoutId id="2147484575" r:id="rId3"/>
  </p:sldLayoutIdLst>
  <p:transition>
    <p:fade/>
  </p:transition>
  <p:hf hdr="0" ftr="0" dt="0"/>
  <p:txStyles>
    <p:titleStyle>
      <a:lvl1pPr marL="0" indent="0" algn="ctr" defTabSz="-18864709" rtl="0" eaLnBrk="1" fontAlgn="base" hangingPunct="1">
        <a:spcBef>
          <a:spcPct val="0"/>
        </a:spcBef>
        <a:spcAft>
          <a:spcPct val="0"/>
        </a:spcAft>
        <a:defRPr lang="en-US" sz="3807" b="0" dirty="0" smtClean="0">
          <a:solidFill>
            <a:schemeClr val="tx1"/>
          </a:solidFill>
          <a:latin typeface="Calibri"/>
          <a:ea typeface="+mj-ea"/>
          <a:cs typeface="Segoe UI" pitchFamily="34" charset="0"/>
        </a:defRPr>
      </a:lvl1pPr>
      <a:lvl2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2pPr>
      <a:lvl3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3pPr>
      <a:lvl4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4pPr>
      <a:lvl5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5pPr>
      <a:lvl6pPr marL="621700" algn="l" eaLnBrk="1" fontAlgn="base" hangingPunct="1">
        <a:spcBef>
          <a:spcPct val="0"/>
        </a:spcBef>
        <a:spcAft>
          <a:spcPct val="0"/>
        </a:spcAft>
        <a:defRPr sz="3807" b="1">
          <a:solidFill>
            <a:schemeClr val="tx2">
              <a:alpha val="100000"/>
            </a:schemeClr>
          </a:solidFill>
          <a:latin typeface="Verdana"/>
        </a:defRPr>
      </a:lvl6pPr>
      <a:lvl7pPr marL="1243401" algn="l" eaLnBrk="1" fontAlgn="base" hangingPunct="1">
        <a:spcBef>
          <a:spcPct val="0"/>
        </a:spcBef>
        <a:spcAft>
          <a:spcPct val="0"/>
        </a:spcAft>
        <a:defRPr sz="3807" b="1">
          <a:solidFill>
            <a:schemeClr val="tx2">
              <a:alpha val="100000"/>
            </a:schemeClr>
          </a:solidFill>
          <a:latin typeface="Verdana"/>
        </a:defRPr>
      </a:lvl7pPr>
      <a:lvl8pPr marL="1865100" algn="l" eaLnBrk="1" fontAlgn="base" hangingPunct="1">
        <a:spcBef>
          <a:spcPct val="0"/>
        </a:spcBef>
        <a:spcAft>
          <a:spcPct val="0"/>
        </a:spcAft>
        <a:defRPr sz="3807" b="1">
          <a:solidFill>
            <a:schemeClr val="tx2">
              <a:alpha val="100000"/>
            </a:schemeClr>
          </a:solidFill>
          <a:latin typeface="Verdana"/>
        </a:defRPr>
      </a:lvl8pPr>
      <a:lvl9pPr marL="2486800" algn="l" eaLnBrk="1" fontAlgn="base" hangingPunct="1">
        <a:spcBef>
          <a:spcPct val="0"/>
        </a:spcBef>
        <a:spcAft>
          <a:spcPct val="0"/>
        </a:spcAft>
        <a:defRPr sz="3807" b="1">
          <a:solidFill>
            <a:schemeClr val="tx2">
              <a:alpha val="100000"/>
            </a:schemeClr>
          </a:solidFill>
          <a:latin typeface="Verdana"/>
        </a:defRPr>
      </a:lvl9pPr>
    </p:titleStyle>
    <p:bodyStyle>
      <a:lvl1pPr marL="466276" indent="-466276" algn="l" defTabSz="-18864709" rtl="0" eaLnBrk="1" fontAlgn="base" hangingPunct="1">
        <a:spcBef>
          <a:spcPts val="408"/>
        </a:spcBef>
        <a:spcAft>
          <a:spcPct val="0"/>
        </a:spcAft>
        <a:buFont typeface="Wingdings" pitchFamily="2" charset="2"/>
        <a:buChar char="§"/>
        <a:defRPr sz="2720" b="1">
          <a:solidFill>
            <a:schemeClr val="tx1"/>
          </a:solidFill>
          <a:latin typeface="Calibri" pitchFamily="34" charset="0"/>
          <a:ea typeface="+mn-ea"/>
          <a:cs typeface="Segoe UI" pitchFamily="34" charset="0"/>
        </a:defRPr>
      </a:lvl1pPr>
      <a:lvl2pPr marL="1010262" indent="-388563" algn="l" defTabSz="-18864709" rtl="0" eaLnBrk="1" fontAlgn="base" hangingPunct="1">
        <a:spcBef>
          <a:spcPts val="408"/>
        </a:spcBef>
        <a:spcAft>
          <a:spcPct val="0"/>
        </a:spcAft>
        <a:buSzPct val="50000"/>
        <a:buFont typeface="Wingdings" pitchFamily="2" charset="2"/>
        <a:buChar char="o"/>
        <a:defRPr sz="2448">
          <a:solidFill>
            <a:schemeClr val="tx1"/>
          </a:solidFill>
          <a:latin typeface="Calibri Light" pitchFamily="34" charset="0"/>
          <a:cs typeface="Segoe UI" pitchFamily="34" charset="0"/>
        </a:defRPr>
      </a:lvl2pPr>
      <a:lvl3pPr marL="1554251" indent="-310849" algn="l" defTabSz="-18864709" rtl="0" eaLnBrk="1" fontAlgn="base" hangingPunct="1">
        <a:spcBef>
          <a:spcPts val="408"/>
        </a:spcBef>
        <a:spcAft>
          <a:spcPct val="0"/>
        </a:spcAft>
        <a:buSzPct val="50000"/>
        <a:buFont typeface="Wingdings" pitchFamily="2" charset="2"/>
        <a:buChar char="o"/>
        <a:defRPr sz="2175">
          <a:solidFill>
            <a:schemeClr val="tx1"/>
          </a:solidFill>
          <a:latin typeface="Calibri Light" pitchFamily="34" charset="0"/>
          <a:cs typeface="Segoe UI" pitchFamily="34" charset="0"/>
        </a:defRPr>
      </a:lvl3pPr>
      <a:lvl4pPr marL="2175950" indent="-310849" algn="l" defTabSz="-18864709" rtl="0" eaLnBrk="1" fontAlgn="base" hangingPunct="1">
        <a:spcBef>
          <a:spcPts val="408"/>
        </a:spcBef>
        <a:spcAft>
          <a:spcPct val="0"/>
        </a:spcAft>
        <a:buSzPct val="50000"/>
        <a:buFont typeface="Wingdings" pitchFamily="2" charset="2"/>
        <a:buChar char="o"/>
        <a:defRPr sz="1904">
          <a:solidFill>
            <a:schemeClr val="tx1"/>
          </a:solidFill>
          <a:latin typeface="Calibri Light" pitchFamily="34" charset="0"/>
          <a:cs typeface="Segoe UI" pitchFamily="34" charset="0"/>
        </a:defRPr>
      </a:lvl4pPr>
      <a:lvl5pPr marL="2797649" indent="-310849" algn="l" defTabSz="-18864709" rtl="0" eaLnBrk="1" fontAlgn="base" hangingPunct="1">
        <a:spcBef>
          <a:spcPts val="408"/>
        </a:spcBef>
        <a:spcAft>
          <a:spcPct val="0"/>
        </a:spcAft>
        <a:buSzPct val="50000"/>
        <a:buFont typeface="Wingdings" pitchFamily="2" charset="2"/>
        <a:buChar char="o"/>
        <a:defRPr sz="1632">
          <a:solidFill>
            <a:schemeClr val="tx1"/>
          </a:solidFill>
          <a:latin typeface="Calibri Light" pitchFamily="34" charset="0"/>
          <a:cs typeface="Segoe UI" pitchFamily="34" charset="0"/>
        </a:defRPr>
      </a:lvl5pPr>
      <a:lvl6pPr marL="3419349"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6pPr>
      <a:lvl7pPr marL="40410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7pPr>
      <a:lvl8pPr marL="46627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8pPr>
      <a:lvl9pPr marL="52844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21700" algn="l" eaLnBrk="1" fontAlgn="base" hangingPunct="1">
        <a:spcBef>
          <a:spcPct val="0"/>
        </a:spcBef>
        <a:spcAft>
          <a:spcPct val="0"/>
        </a:spcAft>
        <a:defRPr>
          <a:solidFill>
            <a:schemeClr val="tx1">
              <a:alpha val="100000"/>
            </a:schemeClr>
          </a:solidFill>
          <a:latin typeface="Arial"/>
        </a:defRPr>
      </a:lvl2pPr>
      <a:lvl3pPr marL="1243401" algn="l" eaLnBrk="1" fontAlgn="base" hangingPunct="1">
        <a:spcBef>
          <a:spcPct val="0"/>
        </a:spcBef>
        <a:spcAft>
          <a:spcPct val="0"/>
        </a:spcAft>
        <a:defRPr>
          <a:solidFill>
            <a:schemeClr val="tx1">
              <a:alpha val="100000"/>
            </a:schemeClr>
          </a:solidFill>
          <a:latin typeface="Arial"/>
        </a:defRPr>
      </a:lvl3pPr>
      <a:lvl4pPr marL="1865100" algn="l" eaLnBrk="1" fontAlgn="base" hangingPunct="1">
        <a:spcBef>
          <a:spcPct val="0"/>
        </a:spcBef>
        <a:spcAft>
          <a:spcPct val="0"/>
        </a:spcAft>
        <a:defRPr>
          <a:solidFill>
            <a:schemeClr val="tx1">
              <a:alpha val="100000"/>
            </a:schemeClr>
          </a:solidFill>
          <a:latin typeface="Arial"/>
        </a:defRPr>
      </a:lvl4pPr>
      <a:lvl5pPr marL="2486800" algn="l" eaLnBrk="1" fontAlgn="base" hangingPunct="1">
        <a:spcBef>
          <a:spcPct val="0"/>
        </a:spcBef>
        <a:spcAft>
          <a:spcPct val="0"/>
        </a:spcAft>
        <a:defRPr>
          <a:solidFill>
            <a:schemeClr val="tx1">
              <a:alpha val="100000"/>
            </a:schemeClr>
          </a:solidFill>
          <a:latin typeface="Arial"/>
        </a:defRPr>
      </a:lvl5pPr>
      <a:lvl6pPr marL="3108500" algn="l" eaLnBrk="1" fontAlgn="base" hangingPunct="1">
        <a:spcBef>
          <a:spcPct val="0"/>
        </a:spcBef>
        <a:spcAft>
          <a:spcPct val="0"/>
        </a:spcAft>
        <a:defRPr>
          <a:solidFill>
            <a:schemeClr val="tx1">
              <a:alpha val="100000"/>
            </a:schemeClr>
          </a:solidFill>
          <a:latin typeface="Arial"/>
        </a:defRPr>
      </a:lvl6pPr>
      <a:lvl7pPr marL="3730201" algn="l" eaLnBrk="1" fontAlgn="base" hangingPunct="1">
        <a:spcBef>
          <a:spcPct val="0"/>
        </a:spcBef>
        <a:spcAft>
          <a:spcPct val="0"/>
        </a:spcAft>
        <a:defRPr>
          <a:solidFill>
            <a:schemeClr val="tx1">
              <a:alpha val="100000"/>
            </a:schemeClr>
          </a:solidFill>
          <a:latin typeface="Arial"/>
        </a:defRPr>
      </a:lvl7pPr>
      <a:lvl8pPr marL="4351900" algn="l" eaLnBrk="1" fontAlgn="base" hangingPunct="1">
        <a:spcBef>
          <a:spcPct val="0"/>
        </a:spcBef>
        <a:spcAft>
          <a:spcPct val="0"/>
        </a:spcAft>
        <a:defRPr>
          <a:solidFill>
            <a:schemeClr val="tx1">
              <a:alpha val="100000"/>
            </a:schemeClr>
          </a:solidFill>
          <a:latin typeface="Arial"/>
        </a:defRPr>
      </a:lvl8pPr>
      <a:lvl9pPr marL="4973600" algn="l" eaLnBrk="1" fontAlgn="base" hangingPunct="1">
        <a:spcBef>
          <a:spcPct val="0"/>
        </a:spcBef>
        <a:spcAft>
          <a:spcPct val="0"/>
        </a:spcAft>
        <a:defRPr>
          <a:solidFill>
            <a:schemeClr val="tx1">
              <a:alpha val="100000"/>
            </a:schemeClr>
          </a:solidFill>
          <a:latin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0.xml"/><Relationship Id="rId4" Type="http://schemas.openxmlformats.org/officeDocument/2006/relationships/notesSlide" Target="../notesSlides/notesSlide1.xml"/><Relationship Id="rId5" Type="http://schemas.openxmlformats.org/officeDocument/2006/relationships/oleObject" Target="../embeddings/oleObject2.bin"/><Relationship Id="rId6" Type="http://schemas.openxmlformats.org/officeDocument/2006/relationships/image" Target="../media/image17.emf"/><Relationship Id="rId7" Type="http://schemas.openxmlformats.org/officeDocument/2006/relationships/image" Target="../media/image18.png"/><Relationship Id="rId8" Type="http://schemas.openxmlformats.org/officeDocument/2006/relationships/image" Target="../media/image19.emf"/><Relationship Id="rId9" Type="http://schemas.openxmlformats.org/officeDocument/2006/relationships/image" Target="../media/image20.emf"/><Relationship Id="rId1" Type="http://schemas.openxmlformats.org/officeDocument/2006/relationships/vmlDrawing" Target="../drawings/vmlDrawing2.vml"/><Relationship Id="rId2" Type="http://schemas.openxmlformats.org/officeDocument/2006/relationships/tags" Target="../tags/tag2.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4" Type="http://schemas.openxmlformats.org/officeDocument/2006/relationships/image" Target="../media/image37.png"/><Relationship Id="rId1" Type="http://schemas.openxmlformats.org/officeDocument/2006/relationships/slideLayout" Target="../slideLayouts/slideLayout12.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11.xml"/><Relationship Id="rId3" Type="http://schemas.openxmlformats.org/officeDocument/2006/relationships/image" Target="../media/image3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4" Type="http://schemas.openxmlformats.org/officeDocument/2006/relationships/image" Target="../media/image40.png"/><Relationship Id="rId1" Type="http://schemas.openxmlformats.org/officeDocument/2006/relationships/slideLayout" Target="../slideLayouts/slideLayout15.xml"/><Relationship Id="rId2"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hyperlink" Target="https://docs.microsoft.com/en-gb/azure/hdinsight/hdinsight-migrate-from-windows-to-linux"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4" Type="http://schemas.openxmlformats.org/officeDocument/2006/relationships/image" Target="../media/image42.png"/><Relationship Id="rId5" Type="http://schemas.openxmlformats.org/officeDocument/2006/relationships/image" Target="../media/image43.png"/><Relationship Id="rId1" Type="http://schemas.openxmlformats.org/officeDocument/2006/relationships/slideLayout" Target="../slideLayouts/slideLayout16.xml"/><Relationship Id="rId2"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17.xml"/><Relationship Id="rId3" Type="http://schemas.openxmlformats.org/officeDocument/2006/relationships/image" Target="../media/image44.png"/></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4" Type="http://schemas.openxmlformats.org/officeDocument/2006/relationships/image" Target="../media/image46.png"/><Relationship Id="rId5" Type="http://schemas.microsoft.com/office/2007/relationships/hdphoto" Target="../media/hdphoto2.wdp"/><Relationship Id="rId1" Type="http://schemas.openxmlformats.org/officeDocument/2006/relationships/slideLayout" Target="../slideLayouts/slideLayout16.xml"/><Relationship Id="rId2"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2.xml"/><Relationship Id="rId3" Type="http://schemas.openxmlformats.org/officeDocument/2006/relationships/image" Target="../media/image21.png"/></Relationships>
</file>

<file path=ppt/slides/_rels/slide20.xml.rels><?xml version="1.0" encoding="UTF-8" standalone="yes"?>
<Relationships xmlns="http://schemas.openxmlformats.org/package/2006/relationships"><Relationship Id="rId3" Type="http://schemas.openxmlformats.org/officeDocument/2006/relationships/image" Target="../media/image22.emf"/><Relationship Id="rId4" Type="http://schemas.openxmlformats.org/officeDocument/2006/relationships/image" Target="../media/image34.emf"/><Relationship Id="rId1" Type="http://schemas.openxmlformats.org/officeDocument/2006/relationships/slideLayout" Target="../slideLayouts/slideLayout11.xml"/><Relationship Id="rId2"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0.xml"/><Relationship Id="rId3" Type="http://schemas.openxmlformats.org/officeDocument/2006/relationships/image" Target="../media/image47.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1.xml"/><Relationship Id="rId3" Type="http://schemas.openxmlformats.org/officeDocument/2006/relationships/image" Target="../media/image48.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2.xml"/><Relationship Id="rId3" Type="http://schemas.openxmlformats.org/officeDocument/2006/relationships/image" Target="../media/image49.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3" Type="http://schemas.openxmlformats.org/officeDocument/2006/relationships/image" Target="../media/image50.png"/><Relationship Id="rId4" Type="http://schemas.openxmlformats.org/officeDocument/2006/relationships/image" Target="../media/image51.png"/><Relationship Id="rId5" Type="http://schemas.openxmlformats.org/officeDocument/2006/relationships/image" Target="../media/image52.png"/><Relationship Id="rId6" Type="http://schemas.openxmlformats.org/officeDocument/2006/relationships/image" Target="../media/image53.png"/><Relationship Id="rId7" Type="http://schemas.openxmlformats.org/officeDocument/2006/relationships/image" Target="../media/image54.png"/><Relationship Id="rId8" Type="http://schemas.openxmlformats.org/officeDocument/2006/relationships/image" Target="../media/image55.png"/><Relationship Id="rId1" Type="http://schemas.openxmlformats.org/officeDocument/2006/relationships/slideLayout" Target="../slideLayouts/slideLayout3.xml"/><Relationship Id="rId2" Type="http://schemas.openxmlformats.org/officeDocument/2006/relationships/notesSlide" Target="../notesSlides/notesSlide25.xml"/></Relationships>
</file>

<file path=ppt/slides/_rels/slide27.xml.rels><?xml version="1.0" encoding="UTF-8" standalone="yes"?>
<Relationships xmlns="http://schemas.openxmlformats.org/package/2006/relationships"><Relationship Id="rId3" Type="http://schemas.openxmlformats.org/officeDocument/2006/relationships/image" Target="../media/image56.png"/><Relationship Id="rId4" Type="http://schemas.openxmlformats.org/officeDocument/2006/relationships/image" Target="../media/image57.png"/><Relationship Id="rId1" Type="http://schemas.openxmlformats.org/officeDocument/2006/relationships/slideLayout" Target="../slideLayouts/slideLayout3.xml"/><Relationship Id="rId2" Type="http://schemas.openxmlformats.org/officeDocument/2006/relationships/notesSlide" Target="../notesSlides/notesSlide2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2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8.xml"/><Relationship Id="rId3" Type="http://schemas.openxmlformats.org/officeDocument/2006/relationships/image" Target="../media/image5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3.xml"/><Relationship Id="rId3" Type="http://schemas.openxmlformats.org/officeDocument/2006/relationships/image" Target="../media/image22.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9.xml"/><Relationship Id="rId3" Type="http://schemas.openxmlformats.org/officeDocument/2006/relationships/image" Target="../media/image59.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1.xml"/><Relationship Id="rId3" Type="http://schemas.openxmlformats.org/officeDocument/2006/relationships/image" Target="../media/image60.png"/></Relationships>
</file>

<file path=ppt/slides/_rels/slide33.xml.rels><?xml version="1.0" encoding="UTF-8" standalone="yes"?>
<Relationships xmlns="http://schemas.openxmlformats.org/package/2006/relationships"><Relationship Id="rId3" Type="http://schemas.openxmlformats.org/officeDocument/2006/relationships/image" Target="../media/image61.jpeg"/><Relationship Id="rId4" Type="http://schemas.openxmlformats.org/officeDocument/2006/relationships/image" Target="../media/image62.png"/><Relationship Id="rId5" Type="http://schemas.openxmlformats.org/officeDocument/2006/relationships/image" Target="../media/image63.png"/><Relationship Id="rId1" Type="http://schemas.openxmlformats.org/officeDocument/2006/relationships/slideLayout" Target="../slideLayouts/slideLayout23.xml"/><Relationship Id="rId2" Type="http://schemas.openxmlformats.org/officeDocument/2006/relationships/notesSlide" Target="../notesSlides/notesSlide3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33.xml"/></Relationships>
</file>

<file path=ppt/slides/_rels/slide35.xml.rels><?xml version="1.0" encoding="UTF-8" standalone="yes"?>
<Relationships xmlns="http://schemas.openxmlformats.org/package/2006/relationships"><Relationship Id="rId3" Type="http://schemas.openxmlformats.org/officeDocument/2006/relationships/image" Target="../media/image64.png"/><Relationship Id="rId4" Type="http://schemas.openxmlformats.org/officeDocument/2006/relationships/image" Target="../media/image65.png"/><Relationship Id="rId1" Type="http://schemas.openxmlformats.org/officeDocument/2006/relationships/slideLayout" Target="../slideLayouts/slideLayout3.xml"/><Relationship Id="rId2" Type="http://schemas.openxmlformats.org/officeDocument/2006/relationships/notesSlide" Target="../notesSlides/notesSlide3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6.xml"/><Relationship Id="rId3" Type="http://schemas.openxmlformats.org/officeDocument/2006/relationships/image" Target="../media/image66.png"/></Relationships>
</file>

<file path=ppt/slides/_rels/slide38.xml.rels><?xml version="1.0" encoding="UTF-8" standalone="yes"?>
<Relationships xmlns="http://schemas.openxmlformats.org/package/2006/relationships"><Relationship Id="rId3" Type="http://schemas.openxmlformats.org/officeDocument/2006/relationships/image" Target="../media/image61.jpeg"/><Relationship Id="rId4" Type="http://schemas.openxmlformats.org/officeDocument/2006/relationships/image" Target="../media/image62.png"/><Relationship Id="rId5" Type="http://schemas.openxmlformats.org/officeDocument/2006/relationships/image" Target="../media/image63.png"/><Relationship Id="rId1" Type="http://schemas.openxmlformats.org/officeDocument/2006/relationships/slideLayout" Target="../slideLayouts/slideLayout23.xml"/><Relationship Id="rId2" Type="http://schemas.openxmlformats.org/officeDocument/2006/relationships/notesSlide" Target="../notesSlides/notesSlide3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8.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1" Type="http://schemas.openxmlformats.org/officeDocument/2006/relationships/slideLayout" Target="../slideLayouts/slideLayout51.xml"/><Relationship Id="rId2"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9.xml"/></Relationships>
</file>

<file path=ppt/slides/_rels/slide41.xml.rels><?xml version="1.0" encoding="UTF-8" standalone="yes"?>
<Relationships xmlns="http://schemas.openxmlformats.org/package/2006/relationships"><Relationship Id="rId3" Type="http://schemas.openxmlformats.org/officeDocument/2006/relationships/image" Target="../media/image61.jpeg"/><Relationship Id="rId4" Type="http://schemas.openxmlformats.org/officeDocument/2006/relationships/image" Target="../media/image62.png"/><Relationship Id="rId5" Type="http://schemas.openxmlformats.org/officeDocument/2006/relationships/image" Target="../media/image63.png"/><Relationship Id="rId1" Type="http://schemas.openxmlformats.org/officeDocument/2006/relationships/slideLayout" Target="../slideLayouts/slideLayout23.xml"/><Relationship Id="rId2" Type="http://schemas.openxmlformats.org/officeDocument/2006/relationships/notesSlide" Target="../notesSlides/notesSlide4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2.xml"/></Relationships>
</file>

<file path=ppt/slides/_rels/slide44.xml.rels><?xml version="1.0" encoding="UTF-8" standalone="yes"?>
<Relationships xmlns="http://schemas.openxmlformats.org/package/2006/relationships"><Relationship Id="rId3" Type="http://schemas.openxmlformats.org/officeDocument/2006/relationships/image" Target="../media/image61.jpeg"/><Relationship Id="rId4" Type="http://schemas.openxmlformats.org/officeDocument/2006/relationships/image" Target="../media/image62.png"/><Relationship Id="rId5" Type="http://schemas.openxmlformats.org/officeDocument/2006/relationships/image" Target="../media/image63.png"/><Relationship Id="rId1" Type="http://schemas.openxmlformats.org/officeDocument/2006/relationships/slideLayout" Target="../slideLayouts/slideLayout23.xml"/><Relationship Id="rId2" Type="http://schemas.openxmlformats.org/officeDocument/2006/relationships/notesSlide" Target="../notesSlides/notesSlide4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5.xml"/><Relationship Id="rId3" Type="http://schemas.openxmlformats.org/officeDocument/2006/relationships/image" Target="../media/image67.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notesSlide" Target="../notesSlides/notesSlide46.xml"/><Relationship Id="rId3" Type="http://schemas.openxmlformats.org/officeDocument/2006/relationships/image" Target="../media/image68.png"/></Relationships>
</file>

<file path=ppt/slides/_rels/slide48.xml.rels><?xml version="1.0" encoding="UTF-8" standalone="yes"?>
<Relationships xmlns="http://schemas.openxmlformats.org/package/2006/relationships"><Relationship Id="rId3" Type="http://schemas.openxmlformats.org/officeDocument/2006/relationships/image" Target="../media/image61.jpeg"/><Relationship Id="rId4" Type="http://schemas.openxmlformats.org/officeDocument/2006/relationships/image" Target="../media/image62.png"/><Relationship Id="rId5" Type="http://schemas.openxmlformats.org/officeDocument/2006/relationships/image" Target="../media/image63.png"/><Relationship Id="rId1" Type="http://schemas.openxmlformats.org/officeDocument/2006/relationships/slideLayout" Target="../slideLayouts/slideLayout23.xml"/><Relationship Id="rId2" Type="http://schemas.openxmlformats.org/officeDocument/2006/relationships/notesSlide" Target="../notesSlides/notesSlide4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48.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4" Type="http://schemas.openxmlformats.org/officeDocument/2006/relationships/diagramLayout" Target="../diagrams/layout2.xml"/><Relationship Id="rId5" Type="http://schemas.openxmlformats.org/officeDocument/2006/relationships/diagramQuickStyle" Target="../diagrams/quickStyle2.xml"/><Relationship Id="rId6" Type="http://schemas.openxmlformats.org/officeDocument/2006/relationships/diagramColors" Target="../diagrams/colors2.xml"/><Relationship Id="rId7" Type="http://schemas.microsoft.com/office/2007/relationships/diagramDrawing" Target="../diagrams/drawing2.xml"/><Relationship Id="rId1" Type="http://schemas.openxmlformats.org/officeDocument/2006/relationships/slideLayout" Target="../slideLayouts/slideLayout51.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22.emf"/><Relationship Id="rId4" Type="http://schemas.openxmlformats.org/officeDocument/2006/relationships/image" Target="../media/image34.emf"/><Relationship Id="rId1" Type="http://schemas.openxmlformats.org/officeDocument/2006/relationships/slideLayout" Target="../slideLayouts/slideLayout11.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7.xml"/><Relationship Id="rId3" Type="http://schemas.openxmlformats.org/officeDocument/2006/relationships/image" Target="../media/image35.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8.xml"/><Relationship Id="rId3" Type="http://schemas.openxmlformats.org/officeDocument/2006/relationships/image" Target="../media/image35.emf"/></Relationships>
</file>

<file path=ppt/slides/_rels/slide9.xml.rels><?xml version="1.0" encoding="UTF-8" standalone="yes"?>
<Relationships xmlns="http://schemas.openxmlformats.org/package/2006/relationships"><Relationship Id="rId3" Type="http://schemas.openxmlformats.org/officeDocument/2006/relationships/image" Target="../media/image22.emf"/><Relationship Id="rId4" Type="http://schemas.openxmlformats.org/officeDocument/2006/relationships/image" Target="../media/image34.emf"/><Relationship Id="rId1" Type="http://schemas.openxmlformats.org/officeDocument/2006/relationships/slideLayout" Target="../slideLayouts/slideLayout11.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2057"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rPr>
              <a:t>The Cortana Intelligence Suite</a:t>
            </a:r>
          </a:p>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2800" b="1" i="0" u="none" strike="noStrike" kern="0" cap="none" spc="-102" normalizeH="0" baseline="0" noProof="0" dirty="0">
                <a:ln w="3175">
                  <a:noFill/>
                </a:ln>
                <a:solidFill>
                  <a:srgbClr val="0072C6"/>
                </a:solidFill>
                <a:effectLst/>
                <a:uLnTx/>
                <a:uFillTx/>
                <a:latin typeface="Segoe UI Light"/>
              </a:rPr>
              <a:t>Foundations – Data Preparation</a:t>
            </a:r>
            <a:endParaRPr kumimoji="0" lang="en-US" sz="2000" b="0" i="0" u="none" strike="noStrike" kern="0" cap="none" spc="0" normalizeH="0" baseline="0" noProof="0" dirty="0">
              <a:ln>
                <a:noFill/>
              </a:ln>
              <a:solidFill>
                <a:srgbClr val="FFFFFF">
                  <a:lumMod val="75000"/>
                </a:srgb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schemeClr val="bg1">
                  <a:lumMod val="50000"/>
                </a:scheme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schemeClr val="bg1">
                    <a:lumMod val="50000"/>
                  </a:schemeClr>
                </a:solidFill>
                <a:effectLst/>
                <a:uLnTx/>
                <a:uFillTx/>
                <a:latin typeface="Segoe UI Light"/>
              </a:rPr>
              <a:t>Microsoft Machine Learning and Data Science Team</a:t>
            </a: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219690325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lstStyle/>
          <a:p>
            <a:r>
              <a:rPr lang="en-US" sz="6600" dirty="0"/>
              <a:t>Hadoop and HDInsight</a:t>
            </a:r>
          </a:p>
        </p:txBody>
      </p:sp>
      <p:sp>
        <p:nvSpPr>
          <p:cNvPr id="3" name="Rectangle 2"/>
          <p:cNvSpPr/>
          <p:nvPr/>
        </p:nvSpPr>
        <p:spPr>
          <a:xfrm>
            <a:off x="904289" y="4639919"/>
            <a:ext cx="10476941" cy="1754326"/>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400" b="0" i="0" u="none" strike="noStrike" kern="0" cap="none" spc="0" normalizeH="0" baseline="0" noProof="0" dirty="0">
                <a:ln>
                  <a:noFill/>
                </a:ln>
                <a:solidFill>
                  <a:srgbClr val="002864"/>
                </a:solidFill>
                <a:effectLst/>
                <a:uLnTx/>
                <a:uFillTx/>
                <a:ea typeface="Calibri" panose="020F0502020204030204" pitchFamily="34" charset="0"/>
                <a:cs typeface="Times New Roman" panose="02020603050405020304" pitchFamily="18" charset="0"/>
              </a:rPr>
              <a:t>Using the Hadoop Ecosystem to process and query data</a:t>
            </a:r>
            <a:endParaRPr kumimoji="0" lang="en-US" sz="5400" b="0" i="1" u="none" strike="noStrike" kern="0" cap="none" spc="0" normalizeH="0" baseline="0" noProof="0" dirty="0">
              <a:ln>
                <a:noFill/>
              </a:ln>
              <a:solidFill>
                <a:srgbClr val="00B050"/>
              </a:solidFill>
              <a:effectLst/>
              <a:uLnTx/>
              <a:uFillTx/>
            </a:endParaRPr>
          </a:p>
        </p:txBody>
      </p:sp>
      <p:pic>
        <p:nvPicPr>
          <p:cNvPr id="4" name="Picture 3"/>
          <p:cNvPicPr>
            <a:picLocks noChangeAspect="1"/>
          </p:cNvPicPr>
          <p:nvPr/>
        </p:nvPicPr>
        <p:blipFill>
          <a:blip r:embed="rId3"/>
          <a:stretch>
            <a:fillRect/>
          </a:stretch>
        </p:blipFill>
        <p:spPr>
          <a:xfrm>
            <a:off x="1194433" y="1636289"/>
            <a:ext cx="4115157" cy="2456901"/>
          </a:xfrm>
          <a:prstGeom prst="rect">
            <a:avLst/>
          </a:prstGeom>
        </p:spPr>
      </p:pic>
      <p:pic>
        <p:nvPicPr>
          <p:cNvPr id="5" name="Picture 4"/>
          <p:cNvPicPr>
            <a:picLocks noChangeAspect="1"/>
          </p:cNvPicPr>
          <p:nvPr/>
        </p:nvPicPr>
        <p:blipFill>
          <a:blip r:embed="rId4"/>
          <a:stretch>
            <a:fillRect/>
          </a:stretch>
        </p:blipFill>
        <p:spPr>
          <a:xfrm>
            <a:off x="6141169" y="2076971"/>
            <a:ext cx="5240061" cy="1575535"/>
          </a:xfrm>
          <a:prstGeom prst="rect">
            <a:avLst/>
          </a:prstGeom>
        </p:spPr>
      </p:pic>
    </p:spTree>
    <p:extLst>
      <p:ext uri="{BB962C8B-B14F-4D97-AF65-F5344CB8AC3E}">
        <p14:creationId xmlns:p14="http://schemas.microsoft.com/office/powerpoint/2010/main" val="2588515985"/>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000" dirty="0"/>
              <a:t>Hadoop</a:t>
            </a:r>
          </a:p>
        </p:txBody>
      </p:sp>
      <p:sp>
        <p:nvSpPr>
          <p:cNvPr id="3" name="Text Placeholder 2"/>
          <p:cNvSpPr>
            <a:spLocks noGrp="1"/>
          </p:cNvSpPr>
          <p:nvPr>
            <p:ph type="body" sz="quarter" idx="10"/>
          </p:nvPr>
        </p:nvSpPr>
        <p:spPr>
          <a:xfrm>
            <a:off x="274639" y="1458177"/>
            <a:ext cx="11887200" cy="4555093"/>
          </a:xfrm>
        </p:spPr>
        <p:txBody>
          <a:bodyPr/>
          <a:lstStyle/>
          <a:p>
            <a:pPr marL="571500" indent="-571500">
              <a:buFont typeface="Arial" panose="020B0604020202020204" pitchFamily="34" charset="0"/>
              <a:buChar char="•"/>
            </a:pPr>
            <a:r>
              <a:rPr lang="en-US" dirty="0">
                <a:solidFill>
                  <a:srgbClr val="002864"/>
                </a:solidFill>
              </a:rPr>
              <a:t>An ecosystem of components for distributed data processing and analysis</a:t>
            </a:r>
          </a:p>
          <a:p>
            <a:pPr marL="571500" indent="-571500">
              <a:buFont typeface="Arial" panose="020B0604020202020204" pitchFamily="34" charset="0"/>
              <a:buChar char="•"/>
            </a:pPr>
            <a:r>
              <a:rPr lang="en-US" dirty="0">
                <a:solidFill>
                  <a:srgbClr val="002864"/>
                </a:solidFill>
              </a:rPr>
              <a:t>Core components: MapReduce, HDFS, YARN</a:t>
            </a:r>
          </a:p>
          <a:p>
            <a:pPr marL="571500" indent="-571500">
              <a:buFont typeface="Arial" panose="020B0604020202020204" pitchFamily="34" charset="0"/>
              <a:buChar char="•"/>
            </a:pPr>
            <a:r>
              <a:rPr lang="en-US" dirty="0">
                <a:solidFill>
                  <a:srgbClr val="002864"/>
                </a:solidFill>
              </a:rPr>
              <a:t>Data is processed in the Hadoop Distributed File System (HDFS)</a:t>
            </a:r>
          </a:p>
          <a:p>
            <a:pPr marL="571500" indent="-571500">
              <a:buFont typeface="Arial" panose="020B0604020202020204" pitchFamily="34" charset="0"/>
              <a:buChar char="•"/>
            </a:pPr>
            <a:r>
              <a:rPr lang="en-US" dirty="0">
                <a:solidFill>
                  <a:srgbClr val="002864"/>
                </a:solidFill>
              </a:rPr>
              <a:t>Resource Management is performed by YARN</a:t>
            </a:r>
          </a:p>
          <a:p>
            <a:pPr marL="571500" indent="-571500">
              <a:buFont typeface="Arial" panose="020B0604020202020204" pitchFamily="34" charset="0"/>
              <a:buChar char="•"/>
            </a:pPr>
            <a:r>
              <a:rPr lang="en-US" dirty="0">
                <a:solidFill>
                  <a:srgbClr val="002864"/>
                </a:solidFill>
              </a:rPr>
              <a:t>Many other related projects</a:t>
            </a:r>
          </a:p>
        </p:txBody>
      </p:sp>
      <p:pic>
        <p:nvPicPr>
          <p:cNvPr id="4" name="Content Placeholder 4" descr="hadoop+elephant_rgb.png"/>
          <p:cNvPicPr>
            <a:picLocks noGrp="1"/>
          </p:cNvPicPr>
          <p:nvPr/>
        </p:nvPicPr>
        <p:blipFill>
          <a:blip r:embed="rId3" cstate="print">
            <a:extLst>
              <a:ext uri="{28A0092B-C50C-407E-A947-70E740481C1C}">
                <a14:useLocalDpi xmlns:a14="http://schemas.microsoft.com/office/drawing/2010/main" val="0"/>
              </a:ext>
            </a:extLst>
          </a:blip>
          <a:srcRect t="-76337" b="-76337"/>
          <a:stretch>
            <a:fillRect/>
          </a:stretch>
        </p:blipFill>
        <p:spPr>
          <a:xfrm>
            <a:off x="8943277" y="-219671"/>
            <a:ext cx="3340644" cy="1947464"/>
          </a:xfrm>
          <a:prstGeom prst="rect">
            <a:avLst/>
          </a:prstGeom>
        </p:spPr>
      </p:pic>
    </p:spTree>
    <p:extLst>
      <p:ext uri="{BB962C8B-B14F-4D97-AF65-F5344CB8AC3E}">
        <p14:creationId xmlns:p14="http://schemas.microsoft.com/office/powerpoint/2010/main" val="337549904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1808673" y="5362887"/>
            <a:ext cx="5284267"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1242752"/>
            <a:r>
              <a:rPr lang="en-US" sz="2174" dirty="0">
                <a:solidFill>
                  <a:prstClr val="white"/>
                </a:solidFill>
                <a:cs typeface="Segoe UI" pitchFamily="34" charset="0"/>
              </a:rPr>
              <a:t>Distributed Storage (HDFS)</a:t>
            </a:r>
            <a:endParaRPr lang="en-US" sz="2174" dirty="0">
              <a:solidFill>
                <a:prstClr val="white"/>
              </a:solidFill>
            </a:endParaRPr>
          </a:p>
        </p:txBody>
      </p:sp>
      <p:sp>
        <p:nvSpPr>
          <p:cNvPr id="31" name="Rectangle 30"/>
          <p:cNvSpPr/>
          <p:nvPr/>
        </p:nvSpPr>
        <p:spPr bwMode="auto">
          <a:xfrm>
            <a:off x="4368149" y="3074674"/>
            <a:ext cx="1506789" cy="76190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2174" spc="-40" dirty="0">
                <a:solidFill>
                  <a:schemeClr val="bg1"/>
                </a:solidFill>
                <a:ea typeface="Segoe UI" pitchFamily="34" charset="0"/>
                <a:cs typeface="Segoe UI" pitchFamily="34" charset="0"/>
              </a:rPr>
              <a:t>Query</a:t>
            </a:r>
          </a:p>
          <a:p>
            <a:pPr algn="ctr" defTabSz="698647" fontAlgn="base">
              <a:spcBef>
                <a:spcPct val="0"/>
              </a:spcBef>
              <a:spcAft>
                <a:spcPct val="0"/>
              </a:spcAft>
            </a:pPr>
            <a:r>
              <a:rPr lang="en-US" sz="2174" spc="-40" dirty="0">
                <a:solidFill>
                  <a:schemeClr val="bg1"/>
                </a:solidFill>
                <a:ea typeface="Segoe UI" pitchFamily="34" charset="0"/>
                <a:cs typeface="Segoe UI" pitchFamily="34" charset="0"/>
              </a:rPr>
              <a:t>(Hive)</a:t>
            </a:r>
          </a:p>
        </p:txBody>
      </p:sp>
      <p:sp>
        <p:nvSpPr>
          <p:cNvPr id="34" name="Rectangle 33"/>
          <p:cNvSpPr/>
          <p:nvPr/>
        </p:nvSpPr>
        <p:spPr bwMode="auto">
          <a:xfrm>
            <a:off x="2777111" y="3897677"/>
            <a:ext cx="3095752" cy="91673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1242752"/>
            <a:r>
              <a:rPr lang="en-US" sz="2174" dirty="0">
                <a:solidFill>
                  <a:prstClr val="white"/>
                </a:solidFill>
                <a:cs typeface="Segoe UI" pitchFamily="34" charset="0"/>
              </a:rPr>
              <a:t>Distributed Processing</a:t>
            </a:r>
          </a:p>
          <a:p>
            <a:pPr algn="ctr" defTabSz="1242752"/>
            <a:r>
              <a:rPr lang="en-US" sz="2174" dirty="0">
                <a:solidFill>
                  <a:prstClr val="white"/>
                </a:solidFill>
                <a:cs typeface="Segoe UI" pitchFamily="34" charset="0"/>
              </a:rPr>
              <a:t>(MapReduce)</a:t>
            </a:r>
            <a:endParaRPr lang="en-US" sz="2174" dirty="0">
              <a:solidFill>
                <a:prstClr val="white"/>
              </a:solidFill>
            </a:endParaRPr>
          </a:p>
        </p:txBody>
      </p:sp>
      <p:sp>
        <p:nvSpPr>
          <p:cNvPr id="35" name="Rectangle 34"/>
          <p:cNvSpPr/>
          <p:nvPr/>
        </p:nvSpPr>
        <p:spPr bwMode="auto">
          <a:xfrm>
            <a:off x="2777114" y="3076243"/>
            <a:ext cx="1532992" cy="76300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2039" spc="-40" dirty="0">
                <a:gradFill>
                  <a:gsLst>
                    <a:gs pos="0">
                      <a:srgbClr val="FFFFFF"/>
                    </a:gs>
                    <a:gs pos="100000">
                      <a:srgbClr val="FFFFFF"/>
                    </a:gs>
                  </a:gsLst>
                  <a:lin ang="5400000" scaled="0"/>
                </a:gradFill>
                <a:ea typeface="Segoe UI" pitchFamily="34" charset="0"/>
                <a:cs typeface="Segoe UI" pitchFamily="34" charset="0"/>
              </a:rPr>
              <a:t>Scripting</a:t>
            </a:r>
          </a:p>
          <a:p>
            <a:pPr algn="ctr" defTabSz="698647" fontAlgn="base">
              <a:spcBef>
                <a:spcPct val="0"/>
              </a:spcBef>
              <a:spcAft>
                <a:spcPct val="0"/>
              </a:spcAft>
            </a:pPr>
            <a:r>
              <a:rPr lang="en-US" sz="2039" spc="-40" dirty="0">
                <a:gradFill>
                  <a:gsLst>
                    <a:gs pos="0">
                      <a:srgbClr val="FFFFFF"/>
                    </a:gs>
                    <a:gs pos="100000">
                      <a:srgbClr val="FFFFFF"/>
                    </a:gs>
                  </a:gsLst>
                  <a:lin ang="5400000" scaled="0"/>
                </a:gradFill>
                <a:ea typeface="Segoe UI" pitchFamily="34" charset="0"/>
                <a:cs typeface="Segoe UI" pitchFamily="34" charset="0"/>
              </a:rPr>
              <a:t>(Pig)</a:t>
            </a:r>
          </a:p>
        </p:txBody>
      </p:sp>
      <p:sp>
        <p:nvSpPr>
          <p:cNvPr id="36" name="Rectangle 35"/>
          <p:cNvSpPr/>
          <p:nvPr/>
        </p:nvSpPr>
        <p:spPr bwMode="auto">
          <a:xfrm>
            <a:off x="1808673" y="3085400"/>
            <a:ext cx="903154" cy="172900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NoSQL Database</a:t>
            </a:r>
          </a:p>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HBase)</a:t>
            </a:r>
          </a:p>
        </p:txBody>
      </p:sp>
      <p:sp>
        <p:nvSpPr>
          <p:cNvPr id="37" name="Rectangle 36"/>
          <p:cNvSpPr/>
          <p:nvPr/>
        </p:nvSpPr>
        <p:spPr bwMode="auto">
          <a:xfrm>
            <a:off x="1808674" y="2390169"/>
            <a:ext cx="4064191" cy="63082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632" spc="-40" dirty="0">
                <a:gradFill>
                  <a:gsLst>
                    <a:gs pos="0">
                      <a:srgbClr val="FFFFFF"/>
                    </a:gs>
                    <a:gs pos="100000">
                      <a:srgbClr val="FFFFFF"/>
                    </a:gs>
                  </a:gsLst>
                  <a:lin ang="5400000" scaled="0"/>
                </a:gradFill>
                <a:ea typeface="Segoe UI" pitchFamily="34" charset="0"/>
                <a:cs typeface="Segoe UI" pitchFamily="34" charset="0"/>
              </a:rPr>
              <a:t>Metadata</a:t>
            </a:r>
          </a:p>
          <a:p>
            <a:pPr algn="ctr" defTabSz="698647" fontAlgn="base">
              <a:spcBef>
                <a:spcPct val="0"/>
              </a:spcBef>
              <a:spcAft>
                <a:spcPct val="0"/>
              </a:spcAft>
            </a:pPr>
            <a:r>
              <a:rPr lang="en-US" sz="1632" spc="-40" dirty="0">
                <a:gradFill>
                  <a:gsLst>
                    <a:gs pos="0">
                      <a:srgbClr val="FFFFFF"/>
                    </a:gs>
                    <a:gs pos="100000">
                      <a:srgbClr val="FFFFFF"/>
                    </a:gs>
                  </a:gsLst>
                  <a:lin ang="5400000" scaled="0"/>
                </a:gradFill>
                <a:ea typeface="Segoe UI" pitchFamily="34" charset="0"/>
                <a:cs typeface="Segoe UI" pitchFamily="34" charset="0"/>
              </a:rPr>
              <a:t>(HCatalog)</a:t>
            </a:r>
          </a:p>
        </p:txBody>
      </p:sp>
      <p:sp>
        <p:nvSpPr>
          <p:cNvPr id="40" name="Rectangle 39"/>
          <p:cNvSpPr/>
          <p:nvPr/>
        </p:nvSpPr>
        <p:spPr bwMode="auto">
          <a:xfrm>
            <a:off x="7134185" y="1552048"/>
            <a:ext cx="786936" cy="5185122"/>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632" spc="-40" dirty="0">
                <a:solidFill>
                  <a:srgbClr val="000000"/>
                </a:solidFill>
                <a:ea typeface="Segoe UI" pitchFamily="34" charset="0"/>
                <a:cs typeface="Segoe UI" pitchFamily="34" charset="0"/>
              </a:rPr>
              <a:t>Data Integration</a:t>
            </a:r>
          </a:p>
          <a:p>
            <a:pPr algn="ctr" defTabSz="698647" fontAlgn="base">
              <a:spcBef>
                <a:spcPct val="0"/>
              </a:spcBef>
              <a:spcAft>
                <a:spcPct val="0"/>
              </a:spcAft>
            </a:pPr>
            <a:r>
              <a:rPr lang="en-US" sz="1632" spc="-40" dirty="0">
                <a:solidFill>
                  <a:srgbClr val="000000"/>
                </a:solidFill>
                <a:ea typeface="Segoe UI" pitchFamily="34" charset="0"/>
                <a:cs typeface="Segoe UI" pitchFamily="34" charset="0"/>
              </a:rPr>
              <a:t>(ODBC / SQOOP/ REST) </a:t>
            </a:r>
          </a:p>
        </p:txBody>
      </p:sp>
      <p:sp>
        <p:nvSpPr>
          <p:cNvPr id="41" name="Rectangle 40"/>
          <p:cNvSpPr/>
          <p:nvPr/>
        </p:nvSpPr>
        <p:spPr bwMode="auto">
          <a:xfrm>
            <a:off x="7977940" y="1552050"/>
            <a:ext cx="1650328" cy="139282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2174" spc="-40" dirty="0">
                <a:gradFill>
                  <a:gsLst>
                    <a:gs pos="0">
                      <a:srgbClr val="FFFFFF"/>
                    </a:gs>
                    <a:gs pos="100000">
                      <a:srgbClr val="FFFFFF"/>
                    </a:gs>
                  </a:gsLst>
                  <a:lin ang="5400000" scaled="0"/>
                </a:gradFill>
                <a:ea typeface="Segoe UI" pitchFamily="34" charset="0"/>
                <a:cs typeface="Segoe UI" pitchFamily="34" charset="0"/>
              </a:rPr>
              <a:t>Relational</a:t>
            </a:r>
          </a:p>
          <a:p>
            <a:pPr algn="ctr" defTabSz="698647" fontAlgn="base">
              <a:spcBef>
                <a:spcPct val="0"/>
              </a:spcBef>
              <a:spcAft>
                <a:spcPct val="0"/>
              </a:spcAft>
            </a:pPr>
            <a:r>
              <a:rPr lang="en-US" sz="2174" spc="-40" dirty="0">
                <a:gradFill>
                  <a:gsLst>
                    <a:gs pos="0">
                      <a:srgbClr val="FFFFFF"/>
                    </a:gs>
                    <a:gs pos="100000">
                      <a:srgbClr val="FFFFFF"/>
                    </a:gs>
                  </a:gsLst>
                  <a:lin ang="5400000" scaled="0"/>
                </a:gradFill>
                <a:ea typeface="Segoe UI" pitchFamily="34" charset="0"/>
                <a:cs typeface="Segoe UI" pitchFamily="34" charset="0"/>
              </a:rPr>
              <a:t>(SQL Server) </a:t>
            </a:r>
          </a:p>
        </p:txBody>
      </p:sp>
      <p:sp>
        <p:nvSpPr>
          <p:cNvPr id="12" name="Rectangle 11"/>
          <p:cNvSpPr/>
          <p:nvPr/>
        </p:nvSpPr>
        <p:spPr bwMode="auto">
          <a:xfrm>
            <a:off x="6076842" y="1552050"/>
            <a:ext cx="997224" cy="782868"/>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Machine Learning</a:t>
            </a:r>
          </a:p>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Mahout)</a:t>
            </a:r>
          </a:p>
        </p:txBody>
      </p:sp>
      <p:sp>
        <p:nvSpPr>
          <p:cNvPr id="13" name="Rectangle 12"/>
          <p:cNvSpPr/>
          <p:nvPr/>
        </p:nvSpPr>
        <p:spPr bwMode="auto">
          <a:xfrm>
            <a:off x="3937802" y="1553618"/>
            <a:ext cx="997224" cy="782868"/>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Graph</a:t>
            </a:r>
          </a:p>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Pegasus)</a:t>
            </a:r>
          </a:p>
        </p:txBody>
      </p:sp>
      <p:sp>
        <p:nvSpPr>
          <p:cNvPr id="14" name="Rectangle 13"/>
          <p:cNvSpPr/>
          <p:nvPr/>
        </p:nvSpPr>
        <p:spPr bwMode="auto">
          <a:xfrm>
            <a:off x="5007689" y="1552050"/>
            <a:ext cx="997224" cy="782868"/>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Stats processing</a:t>
            </a:r>
          </a:p>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RHadoop)</a:t>
            </a:r>
          </a:p>
        </p:txBody>
      </p:sp>
      <p:sp>
        <p:nvSpPr>
          <p:cNvPr id="18" name="Rectangle 17"/>
          <p:cNvSpPr/>
          <p:nvPr/>
        </p:nvSpPr>
        <p:spPr bwMode="auto">
          <a:xfrm>
            <a:off x="956450" y="4445302"/>
            <a:ext cx="786936" cy="141864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solidFill>
                  <a:srgbClr val="000000"/>
                </a:solidFill>
                <a:ea typeface="Segoe UI" pitchFamily="34" charset="0"/>
                <a:cs typeface="Segoe UI" pitchFamily="34" charset="0"/>
              </a:rPr>
              <a:t>Event Pipeline</a:t>
            </a:r>
          </a:p>
          <a:p>
            <a:pPr algn="ctr" defTabSz="698647" fontAlgn="base">
              <a:spcBef>
                <a:spcPct val="0"/>
              </a:spcBef>
              <a:spcAft>
                <a:spcPct val="0"/>
              </a:spcAft>
            </a:pPr>
            <a:r>
              <a:rPr lang="en-US" sz="1494" spc="-40" dirty="0">
                <a:solidFill>
                  <a:srgbClr val="000000"/>
                </a:solidFill>
                <a:ea typeface="Segoe UI" pitchFamily="34" charset="0"/>
                <a:cs typeface="Segoe UI" pitchFamily="34" charset="0"/>
              </a:rPr>
              <a:t>(Event Hub/ Flume)</a:t>
            </a:r>
          </a:p>
        </p:txBody>
      </p:sp>
      <p:sp>
        <p:nvSpPr>
          <p:cNvPr id="20" name="Rectangle 19"/>
          <p:cNvSpPr/>
          <p:nvPr/>
        </p:nvSpPr>
        <p:spPr bwMode="auto">
          <a:xfrm rot="16200000">
            <a:off x="5938972" y="5598220"/>
            <a:ext cx="801507" cy="147639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Active Directory  (Security)</a:t>
            </a:r>
          </a:p>
        </p:txBody>
      </p:sp>
      <p:sp>
        <p:nvSpPr>
          <p:cNvPr id="21" name="Rectangle 20"/>
          <p:cNvSpPr/>
          <p:nvPr/>
        </p:nvSpPr>
        <p:spPr bwMode="auto">
          <a:xfrm rot="16200000">
            <a:off x="1300991"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Monitoring &amp; Deployment (System Center)</a:t>
            </a:r>
          </a:p>
        </p:txBody>
      </p:sp>
      <p:sp>
        <p:nvSpPr>
          <p:cNvPr id="19" name="Rectangle 18"/>
          <p:cNvSpPr/>
          <p:nvPr/>
        </p:nvSpPr>
        <p:spPr bwMode="auto">
          <a:xfrm>
            <a:off x="2880344"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C#, F#, .NET</a:t>
            </a:r>
          </a:p>
        </p:txBody>
      </p:sp>
      <p:sp>
        <p:nvSpPr>
          <p:cNvPr id="22" name="Rectangle 21"/>
          <p:cNvSpPr/>
          <p:nvPr/>
        </p:nvSpPr>
        <p:spPr bwMode="auto">
          <a:xfrm>
            <a:off x="1810457"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Visual Studio Tools</a:t>
            </a:r>
          </a:p>
        </p:txBody>
      </p:sp>
      <p:sp>
        <p:nvSpPr>
          <p:cNvPr id="25" name="Rectangle 24"/>
          <p:cNvSpPr/>
          <p:nvPr/>
        </p:nvSpPr>
        <p:spPr bwMode="auto">
          <a:xfrm>
            <a:off x="965474" y="1552051"/>
            <a:ext cx="786936" cy="146894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Pipeline / workflow</a:t>
            </a:r>
          </a:p>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Oozie)</a:t>
            </a:r>
          </a:p>
        </p:txBody>
      </p:sp>
      <p:sp>
        <p:nvSpPr>
          <p:cNvPr id="23" name="Rectangle 22"/>
          <p:cNvSpPr/>
          <p:nvPr/>
        </p:nvSpPr>
        <p:spPr bwMode="auto">
          <a:xfrm rot="16200000">
            <a:off x="4381487"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Azure Blob Storage</a:t>
            </a:r>
          </a:p>
        </p:txBody>
      </p:sp>
      <p:sp>
        <p:nvSpPr>
          <p:cNvPr id="24" name="Rectangle 23"/>
          <p:cNvSpPr/>
          <p:nvPr/>
        </p:nvSpPr>
        <p:spPr bwMode="auto">
          <a:xfrm>
            <a:off x="5932983" y="2390167"/>
            <a:ext cx="1144941" cy="242423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2039" spc="-40" dirty="0">
                <a:gradFill>
                  <a:gsLst>
                    <a:gs pos="0">
                      <a:srgbClr val="FFFFFF"/>
                    </a:gs>
                    <a:gs pos="100000">
                      <a:srgbClr val="FFFFFF"/>
                    </a:gs>
                  </a:gsLst>
                  <a:lin ang="5400000" scaled="0"/>
                </a:gradFill>
                <a:ea typeface="Segoe UI" pitchFamily="34" charset="0"/>
                <a:cs typeface="Segoe UI" pitchFamily="34" charset="0"/>
              </a:rPr>
              <a:t>PDW Polybase</a:t>
            </a:r>
          </a:p>
        </p:txBody>
      </p:sp>
      <p:sp>
        <p:nvSpPr>
          <p:cNvPr id="26" name="Rectangle 25"/>
          <p:cNvSpPr/>
          <p:nvPr/>
        </p:nvSpPr>
        <p:spPr bwMode="auto">
          <a:xfrm>
            <a:off x="7977384" y="4490626"/>
            <a:ext cx="1658852" cy="2246544"/>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2174" spc="-40" dirty="0">
                <a:gradFill>
                  <a:gsLst>
                    <a:gs pos="0">
                      <a:srgbClr val="FFFFFF"/>
                    </a:gs>
                    <a:gs pos="100000">
                      <a:srgbClr val="FFFFFF"/>
                    </a:gs>
                  </a:gsLst>
                  <a:lin ang="5400000" scaled="0"/>
                </a:gradFill>
                <a:ea typeface="Segoe UI" pitchFamily="34" charset="0"/>
                <a:cs typeface="Segoe UI" pitchFamily="34" charset="0"/>
              </a:rPr>
              <a:t>Business Intelligence </a:t>
            </a:r>
          </a:p>
          <a:p>
            <a:pPr algn="ctr" defTabSz="698647" fontAlgn="base">
              <a:spcBef>
                <a:spcPct val="0"/>
              </a:spcBef>
              <a:spcAft>
                <a:spcPct val="0"/>
              </a:spcAft>
            </a:pPr>
            <a:r>
              <a:rPr lang="en-US" sz="2174" spc="-40" dirty="0">
                <a:gradFill>
                  <a:gsLst>
                    <a:gs pos="0">
                      <a:srgbClr val="FFFFFF"/>
                    </a:gs>
                    <a:gs pos="100000">
                      <a:srgbClr val="FFFFFF"/>
                    </a:gs>
                  </a:gsLst>
                  <a:lin ang="5400000" scaled="0"/>
                </a:gradFill>
                <a:ea typeface="Segoe UI" pitchFamily="34" charset="0"/>
                <a:cs typeface="Segoe UI" pitchFamily="34" charset="0"/>
              </a:rPr>
              <a:t>(Excel, Power BI, SSAS)</a:t>
            </a:r>
          </a:p>
        </p:txBody>
      </p:sp>
      <p:sp>
        <p:nvSpPr>
          <p:cNvPr id="28" name="Rectangle 27"/>
          <p:cNvSpPr/>
          <p:nvPr/>
        </p:nvSpPr>
        <p:spPr bwMode="auto">
          <a:xfrm rot="16200000">
            <a:off x="2852689"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World's Data (Azure Data Marketplace)</a:t>
            </a:r>
          </a:p>
        </p:txBody>
      </p:sp>
      <p:sp>
        <p:nvSpPr>
          <p:cNvPr id="29" name="Rectangle 28"/>
          <p:cNvSpPr/>
          <p:nvPr/>
        </p:nvSpPr>
        <p:spPr bwMode="auto">
          <a:xfrm>
            <a:off x="7981240" y="2990203"/>
            <a:ext cx="1650328" cy="145510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2174" spc="-40" dirty="0">
                <a:gradFill>
                  <a:gsLst>
                    <a:gs pos="0">
                      <a:srgbClr val="FFFFFF"/>
                    </a:gs>
                    <a:gs pos="100000">
                      <a:srgbClr val="FFFFFF"/>
                    </a:gs>
                  </a:gsLst>
                  <a:lin ang="5400000" scaled="0"/>
                </a:gradFill>
                <a:ea typeface="Segoe UI" pitchFamily="34" charset="0"/>
                <a:cs typeface="Segoe UI" pitchFamily="34" charset="0"/>
              </a:rPr>
              <a:t>Event Driven Processing</a:t>
            </a:r>
          </a:p>
        </p:txBody>
      </p:sp>
      <p:sp>
        <p:nvSpPr>
          <p:cNvPr id="2" name="TextBox 1"/>
          <p:cNvSpPr txBox="1"/>
          <p:nvPr/>
        </p:nvSpPr>
        <p:spPr>
          <a:xfrm>
            <a:off x="10294519" y="2564801"/>
            <a:ext cx="2238777" cy="955868"/>
          </a:xfrm>
          <a:prstGeom prst="rect">
            <a:avLst/>
          </a:prstGeom>
          <a:noFill/>
        </p:spPr>
        <p:txBody>
          <a:bodyPr wrap="square" lIns="93187" tIns="46592" rIns="93187" bIns="46592" rtlCol="0">
            <a:spAutoFit/>
          </a:bodyPr>
          <a:lstStyle/>
          <a:p>
            <a:pPr defTabSz="1242752"/>
            <a:r>
              <a:rPr lang="en-US" sz="2800" dirty="0">
                <a:solidFill>
                  <a:schemeClr val="accent1">
                    <a:lumMod val="60000"/>
                    <a:lumOff val="40000"/>
                  </a:schemeClr>
                </a:solidFill>
              </a:rPr>
              <a:t>Data Processing</a:t>
            </a:r>
          </a:p>
        </p:txBody>
      </p:sp>
      <p:sp>
        <p:nvSpPr>
          <p:cNvPr id="4" name="Text Placeholder 3"/>
          <p:cNvSpPr>
            <a:spLocks noGrp="1"/>
          </p:cNvSpPr>
          <p:nvPr>
            <p:ph type="body" sz="quarter" idx="13"/>
          </p:nvPr>
        </p:nvSpPr>
        <p:spPr>
          <a:xfrm>
            <a:off x="54033" y="113885"/>
            <a:ext cx="11784006" cy="1024684"/>
          </a:xfrm>
        </p:spPr>
        <p:txBody>
          <a:bodyPr/>
          <a:lstStyle/>
          <a:p>
            <a:r>
              <a:rPr lang="en-US" sz="4800" dirty="0"/>
              <a:t>HDInsight and the Hadoop </a:t>
            </a:r>
            <a:r>
              <a:rPr lang="en-US" sz="4800" strike="sngStrike" dirty="0"/>
              <a:t>Zoo</a:t>
            </a:r>
            <a:r>
              <a:rPr lang="en-US" sz="4800" dirty="0"/>
              <a:t> Ecosystem</a:t>
            </a:r>
            <a:endParaRPr lang="en-US" sz="4800" strike="sngStrike" dirty="0"/>
          </a:p>
        </p:txBody>
      </p:sp>
      <p:sp>
        <p:nvSpPr>
          <p:cNvPr id="27" name="Rectangle 26"/>
          <p:cNvSpPr/>
          <p:nvPr/>
        </p:nvSpPr>
        <p:spPr bwMode="auto">
          <a:xfrm>
            <a:off x="1810457" y="4838114"/>
            <a:ext cx="5263609"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1242752"/>
            <a:r>
              <a:rPr lang="en-US" sz="2174" dirty="0">
                <a:solidFill>
                  <a:prstClr val="white"/>
                </a:solidFill>
                <a:cs typeface="Segoe UI" pitchFamily="34" charset="0"/>
              </a:rPr>
              <a:t>YARN</a:t>
            </a:r>
            <a:endParaRPr lang="en-US" sz="2174" dirty="0">
              <a:solidFill>
                <a:prstClr val="white"/>
              </a:solidFill>
            </a:endParaRPr>
          </a:p>
        </p:txBody>
      </p:sp>
      <p:sp>
        <p:nvSpPr>
          <p:cNvPr id="30" name="Rectangle 29"/>
          <p:cNvSpPr/>
          <p:nvPr/>
        </p:nvSpPr>
        <p:spPr bwMode="auto">
          <a:xfrm>
            <a:off x="976566" y="3092708"/>
            <a:ext cx="786936" cy="130042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Real Time Processing (Storm)</a:t>
            </a:r>
          </a:p>
        </p:txBody>
      </p:sp>
      <p:sp>
        <p:nvSpPr>
          <p:cNvPr id="33" name="Rectangle 32"/>
          <p:cNvSpPr/>
          <p:nvPr/>
        </p:nvSpPr>
        <p:spPr bwMode="auto">
          <a:xfrm>
            <a:off x="6067316" y="1563904"/>
            <a:ext cx="997224" cy="78286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err="1">
                <a:gradFill>
                  <a:gsLst>
                    <a:gs pos="0">
                      <a:srgbClr val="FFFFFF"/>
                    </a:gs>
                    <a:gs pos="100000">
                      <a:srgbClr val="FFFFFF"/>
                    </a:gs>
                  </a:gsLst>
                  <a:lin ang="5400000" scaled="0"/>
                </a:gradFill>
                <a:ea typeface="Segoe UI" pitchFamily="34" charset="0"/>
                <a:cs typeface="Segoe UI" pitchFamily="34" charset="0"/>
              </a:rPr>
              <a:t>MLLib</a:t>
            </a:r>
            <a:r>
              <a:rPr lang="en-US" sz="1494" spc="-40" dirty="0">
                <a:gradFill>
                  <a:gsLst>
                    <a:gs pos="0">
                      <a:srgbClr val="FFFFFF"/>
                    </a:gs>
                    <a:gs pos="100000">
                      <a:srgbClr val="FFFFFF"/>
                    </a:gs>
                  </a:gsLst>
                  <a:lin ang="5400000" scaled="0"/>
                </a:gradFill>
                <a:ea typeface="Segoe UI" pitchFamily="34" charset="0"/>
                <a:cs typeface="Segoe UI" pitchFamily="34" charset="0"/>
              </a:rPr>
              <a:t>/ Spark ML</a:t>
            </a:r>
          </a:p>
        </p:txBody>
      </p:sp>
      <p:sp>
        <p:nvSpPr>
          <p:cNvPr id="38" name="Rectangle 37"/>
          <p:cNvSpPr/>
          <p:nvPr/>
        </p:nvSpPr>
        <p:spPr bwMode="auto">
          <a:xfrm>
            <a:off x="3954792" y="1547776"/>
            <a:ext cx="997224" cy="78286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err="1">
                <a:gradFill>
                  <a:gsLst>
                    <a:gs pos="0">
                      <a:srgbClr val="FFFFFF"/>
                    </a:gs>
                    <a:gs pos="100000">
                      <a:srgbClr val="FFFFFF"/>
                    </a:gs>
                  </a:gsLst>
                  <a:lin ang="5400000" scaled="0"/>
                </a:gradFill>
                <a:ea typeface="Segoe UI" pitchFamily="34" charset="0"/>
                <a:cs typeface="Segoe UI" pitchFamily="34" charset="0"/>
              </a:rPr>
              <a:t>GraphX</a:t>
            </a:r>
            <a:r>
              <a:rPr lang="en-US" sz="1494" spc="-40" dirty="0">
                <a:gradFill>
                  <a:gsLst>
                    <a:gs pos="0">
                      <a:srgbClr val="FFFFFF"/>
                    </a:gs>
                    <a:gs pos="100000">
                      <a:srgbClr val="FFFFFF"/>
                    </a:gs>
                  </a:gsLst>
                  <a:lin ang="5400000" scaled="0"/>
                </a:gradFill>
                <a:ea typeface="Segoe UI" pitchFamily="34" charset="0"/>
                <a:cs typeface="Segoe UI" pitchFamily="34" charset="0"/>
              </a:rPr>
              <a:t>/</a:t>
            </a:r>
            <a:r>
              <a:rPr lang="en-US" sz="1494" spc="-40" dirty="0" err="1">
                <a:gradFill>
                  <a:gsLst>
                    <a:gs pos="0">
                      <a:srgbClr val="FFFFFF"/>
                    </a:gs>
                    <a:gs pos="100000">
                      <a:srgbClr val="FFFFFF"/>
                    </a:gs>
                  </a:gsLst>
                  <a:lin ang="5400000" scaled="0"/>
                </a:gradFill>
                <a:ea typeface="Segoe UI" pitchFamily="34" charset="0"/>
                <a:cs typeface="Segoe UI" pitchFamily="34" charset="0"/>
              </a:rPr>
              <a:t>GraphFrames</a:t>
            </a:r>
            <a:endParaRPr lang="en-US" sz="1494" spc="-40" dirty="0">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bwMode="auto">
          <a:xfrm>
            <a:off x="5016374" y="1552048"/>
            <a:ext cx="997224" cy="78286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Spark SQL</a:t>
            </a:r>
          </a:p>
        </p:txBody>
      </p:sp>
      <p:sp>
        <p:nvSpPr>
          <p:cNvPr id="42" name="TextBox 41"/>
          <p:cNvSpPr txBox="1"/>
          <p:nvPr/>
        </p:nvSpPr>
        <p:spPr>
          <a:xfrm>
            <a:off x="10257102" y="1531448"/>
            <a:ext cx="2238777" cy="955868"/>
          </a:xfrm>
          <a:prstGeom prst="rect">
            <a:avLst/>
          </a:prstGeom>
          <a:noFill/>
        </p:spPr>
        <p:txBody>
          <a:bodyPr wrap="square" lIns="93187" tIns="46592" rIns="93187" bIns="46592" rtlCol="0">
            <a:spAutoFit/>
          </a:bodyPr>
          <a:lstStyle/>
          <a:p>
            <a:pPr defTabSz="1242752"/>
            <a:r>
              <a:rPr lang="en-US" sz="2800" dirty="0">
                <a:solidFill>
                  <a:srgbClr val="C00000"/>
                </a:solidFill>
              </a:rPr>
              <a:t>Core Hadoop</a:t>
            </a:r>
          </a:p>
        </p:txBody>
      </p:sp>
      <p:sp>
        <p:nvSpPr>
          <p:cNvPr id="43" name="TextBox 42"/>
          <p:cNvSpPr txBox="1"/>
          <p:nvPr/>
        </p:nvSpPr>
        <p:spPr>
          <a:xfrm>
            <a:off x="10256918" y="3572217"/>
            <a:ext cx="2238777" cy="955868"/>
          </a:xfrm>
          <a:prstGeom prst="rect">
            <a:avLst/>
          </a:prstGeom>
          <a:noFill/>
        </p:spPr>
        <p:txBody>
          <a:bodyPr wrap="square" lIns="93187" tIns="46592" rIns="93187" bIns="46592" rtlCol="0">
            <a:spAutoFit/>
          </a:bodyPr>
          <a:lstStyle/>
          <a:p>
            <a:pPr defTabSz="1242752"/>
            <a:r>
              <a:rPr lang="en-US" sz="2800" dirty="0">
                <a:solidFill>
                  <a:schemeClr val="tx2"/>
                </a:solidFill>
              </a:rPr>
              <a:t>Microsoft Integration</a:t>
            </a:r>
          </a:p>
        </p:txBody>
      </p:sp>
      <p:sp>
        <p:nvSpPr>
          <p:cNvPr id="44" name="TextBox 43"/>
          <p:cNvSpPr txBox="1"/>
          <p:nvPr/>
        </p:nvSpPr>
        <p:spPr>
          <a:xfrm>
            <a:off x="10256918" y="4657118"/>
            <a:ext cx="2238777" cy="955868"/>
          </a:xfrm>
          <a:prstGeom prst="rect">
            <a:avLst/>
          </a:prstGeom>
          <a:noFill/>
        </p:spPr>
        <p:txBody>
          <a:bodyPr wrap="square" lIns="93187" tIns="46592" rIns="93187" bIns="46592" rtlCol="0">
            <a:spAutoFit/>
          </a:bodyPr>
          <a:lstStyle/>
          <a:p>
            <a:pPr defTabSz="1242752"/>
            <a:r>
              <a:rPr lang="en-US" sz="2800" dirty="0">
                <a:solidFill>
                  <a:srgbClr val="FFC000"/>
                </a:solidFill>
              </a:rPr>
              <a:t>Data Movement</a:t>
            </a:r>
          </a:p>
        </p:txBody>
      </p:sp>
      <p:sp>
        <p:nvSpPr>
          <p:cNvPr id="45" name="TextBox 44"/>
          <p:cNvSpPr txBox="1"/>
          <p:nvPr/>
        </p:nvSpPr>
        <p:spPr>
          <a:xfrm>
            <a:off x="10221289" y="5674156"/>
            <a:ext cx="2238777" cy="524981"/>
          </a:xfrm>
          <a:prstGeom prst="rect">
            <a:avLst/>
          </a:prstGeom>
          <a:noFill/>
        </p:spPr>
        <p:txBody>
          <a:bodyPr wrap="square" lIns="93187" tIns="46592" rIns="93187" bIns="46592" rtlCol="0">
            <a:spAutoFit/>
          </a:bodyPr>
          <a:lstStyle/>
          <a:p>
            <a:pPr defTabSz="1242752"/>
            <a:r>
              <a:rPr lang="en-US" sz="2800" dirty="0">
                <a:solidFill>
                  <a:srgbClr val="92D050"/>
                </a:solidFill>
              </a:rPr>
              <a:t>ML Packages</a:t>
            </a:r>
          </a:p>
        </p:txBody>
      </p:sp>
      <p:sp>
        <p:nvSpPr>
          <p:cNvPr id="46" name="Rectangle 45"/>
          <p:cNvSpPr/>
          <p:nvPr/>
        </p:nvSpPr>
        <p:spPr bwMode="auto">
          <a:xfrm>
            <a:off x="7995309" y="4517516"/>
            <a:ext cx="1658852" cy="2246544"/>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2174" spc="-40" dirty="0">
                <a:solidFill>
                  <a:srgbClr val="FFFF00"/>
                </a:solidFill>
                <a:ea typeface="Segoe UI" pitchFamily="34" charset="0"/>
                <a:cs typeface="Segoe UI" pitchFamily="34" charset="0"/>
              </a:rPr>
              <a:t>Microsoft R Server (Enterprise R in the Cloud)</a:t>
            </a:r>
          </a:p>
        </p:txBody>
      </p:sp>
    </p:spTree>
    <p:extLst>
      <p:ext uri="{BB962C8B-B14F-4D97-AF65-F5344CB8AC3E}">
        <p14:creationId xmlns:p14="http://schemas.microsoft.com/office/powerpoint/2010/main" val="122616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34"/>
                                        </p:tgtEl>
                                        <p:attrNameLst>
                                          <p:attrName>style.visibility</p:attrName>
                                        </p:attrNameLst>
                                      </p:cBhvr>
                                      <p:to>
                                        <p:strVal val="visible"/>
                                      </p:to>
                                    </p:set>
                                    <p:animEffect transition="in" filter="fade">
                                      <p:cBhvr>
                                        <p:cTn id="11" dur="500"/>
                                        <p:tgtEl>
                                          <p:spTgt spid="34"/>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500"/>
                                        <p:tgtEl>
                                          <p:spTgt spid="32"/>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2"/>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5"/>
                                        </p:tgtEl>
                                        <p:attrNameLst>
                                          <p:attrName>style.visibility</p:attrName>
                                        </p:attrNameLst>
                                      </p:cBhvr>
                                      <p:to>
                                        <p:strVal val="visible"/>
                                      </p:to>
                                    </p:set>
                                    <p:animEffect transition="in" filter="fade">
                                      <p:cBhvr>
                                        <p:cTn id="26" dur="500"/>
                                        <p:tgtEl>
                                          <p:spTgt spid="25"/>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0"/>
                                        </p:tgtEl>
                                        <p:attrNameLst>
                                          <p:attrName>style.visibility</p:attrName>
                                        </p:attrNameLst>
                                      </p:cBhvr>
                                      <p:to>
                                        <p:strVal val="visible"/>
                                      </p:to>
                                    </p:set>
                                    <p:animEffect transition="in" filter="fade">
                                      <p:cBhvr>
                                        <p:cTn id="29" dur="500"/>
                                        <p:tgtEl>
                                          <p:spTgt spid="30"/>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fade">
                                      <p:cBhvr>
                                        <p:cTn id="32" dur="500"/>
                                        <p:tgtEl>
                                          <p:spTgt spid="37"/>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5"/>
                                        </p:tgtEl>
                                        <p:attrNameLst>
                                          <p:attrName>style.visibility</p:attrName>
                                        </p:attrNameLst>
                                      </p:cBhvr>
                                      <p:to>
                                        <p:strVal val="visible"/>
                                      </p:to>
                                    </p:set>
                                    <p:animEffect transition="in" filter="fade">
                                      <p:cBhvr>
                                        <p:cTn id="35" dur="500"/>
                                        <p:tgtEl>
                                          <p:spTgt spid="3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1"/>
                                        </p:tgtEl>
                                        <p:attrNameLst>
                                          <p:attrName>style.visibility</p:attrName>
                                        </p:attrNameLst>
                                      </p:cBhvr>
                                      <p:to>
                                        <p:strVal val="visible"/>
                                      </p:to>
                                    </p:set>
                                    <p:animEffect transition="in" filter="fade">
                                      <p:cBhvr>
                                        <p:cTn id="38" dur="500"/>
                                        <p:tgtEl>
                                          <p:spTgt spid="3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6"/>
                                        </p:tgtEl>
                                        <p:attrNameLst>
                                          <p:attrName>style.visibility</p:attrName>
                                        </p:attrNameLst>
                                      </p:cBhvr>
                                      <p:to>
                                        <p:strVal val="visible"/>
                                      </p:to>
                                    </p:set>
                                    <p:animEffect transition="in" filter="fade">
                                      <p:cBhvr>
                                        <p:cTn id="41" dur="500"/>
                                        <p:tgtEl>
                                          <p:spTgt spid="36"/>
                                        </p:tgtEl>
                                      </p:cBhvr>
                                    </p:animEffec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43"/>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22"/>
                                        </p:tgtEl>
                                        <p:attrNameLst>
                                          <p:attrName>style.visibility</p:attrName>
                                        </p:attrNameLst>
                                      </p:cBhvr>
                                      <p:to>
                                        <p:strVal val="visible"/>
                                      </p:to>
                                    </p:set>
                                    <p:animEffect transition="in" filter="fade">
                                      <p:cBhvr>
                                        <p:cTn id="50" dur="500"/>
                                        <p:tgtEl>
                                          <p:spTgt spid="22"/>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9"/>
                                        </p:tgtEl>
                                        <p:attrNameLst>
                                          <p:attrName>style.visibility</p:attrName>
                                        </p:attrNameLst>
                                      </p:cBhvr>
                                      <p:to>
                                        <p:strVal val="visible"/>
                                      </p:to>
                                    </p:set>
                                    <p:animEffect transition="in" filter="fade">
                                      <p:cBhvr>
                                        <p:cTn id="53" dur="500"/>
                                        <p:tgtEl>
                                          <p:spTgt spid="19"/>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fade">
                                      <p:cBhvr>
                                        <p:cTn id="56" dur="500"/>
                                        <p:tgtEl>
                                          <p:spTgt spid="24"/>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1"/>
                                        </p:tgtEl>
                                        <p:attrNameLst>
                                          <p:attrName>style.visibility</p:attrName>
                                        </p:attrNameLst>
                                      </p:cBhvr>
                                      <p:to>
                                        <p:strVal val="visible"/>
                                      </p:to>
                                    </p:set>
                                    <p:animEffect transition="in" filter="fade">
                                      <p:cBhvr>
                                        <p:cTn id="59" dur="500"/>
                                        <p:tgtEl>
                                          <p:spTgt spid="41"/>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9"/>
                                        </p:tgtEl>
                                        <p:attrNameLst>
                                          <p:attrName>style.visibility</p:attrName>
                                        </p:attrNameLst>
                                      </p:cBhvr>
                                      <p:to>
                                        <p:strVal val="visible"/>
                                      </p:to>
                                    </p:set>
                                    <p:animEffect transition="in" filter="fade">
                                      <p:cBhvr>
                                        <p:cTn id="62" dur="500"/>
                                        <p:tgtEl>
                                          <p:spTgt spid="29"/>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6"/>
                                        </p:tgtEl>
                                        <p:attrNameLst>
                                          <p:attrName>style.visibility</p:attrName>
                                        </p:attrNameLst>
                                      </p:cBhvr>
                                      <p:to>
                                        <p:strVal val="visible"/>
                                      </p:to>
                                    </p:set>
                                    <p:animEffect transition="in" filter="fade">
                                      <p:cBhvr>
                                        <p:cTn id="65" dur="500"/>
                                        <p:tgtEl>
                                          <p:spTgt spid="26"/>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20"/>
                                        </p:tgtEl>
                                        <p:attrNameLst>
                                          <p:attrName>style.visibility</p:attrName>
                                        </p:attrNameLst>
                                      </p:cBhvr>
                                      <p:to>
                                        <p:strVal val="visible"/>
                                      </p:to>
                                    </p:set>
                                    <p:animEffect transition="in" filter="fade">
                                      <p:cBhvr>
                                        <p:cTn id="68" dur="500"/>
                                        <p:tgtEl>
                                          <p:spTgt spid="20"/>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fade">
                                      <p:cBhvr>
                                        <p:cTn id="71" dur="500"/>
                                        <p:tgtEl>
                                          <p:spTgt spid="23"/>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28"/>
                                        </p:tgtEl>
                                        <p:attrNameLst>
                                          <p:attrName>style.visibility</p:attrName>
                                        </p:attrNameLst>
                                      </p:cBhvr>
                                      <p:to>
                                        <p:strVal val="visible"/>
                                      </p:to>
                                    </p:set>
                                    <p:animEffect transition="in" filter="fade">
                                      <p:cBhvr>
                                        <p:cTn id="74" dur="500"/>
                                        <p:tgtEl>
                                          <p:spTgt spid="28"/>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21"/>
                                        </p:tgtEl>
                                        <p:attrNameLst>
                                          <p:attrName>style.visibility</p:attrName>
                                        </p:attrNameLst>
                                      </p:cBhvr>
                                      <p:to>
                                        <p:strVal val="visible"/>
                                      </p:to>
                                    </p:set>
                                    <p:animEffect transition="in" filter="fade">
                                      <p:cBhvr>
                                        <p:cTn id="77" dur="500"/>
                                        <p:tgtEl>
                                          <p:spTgt spid="21"/>
                                        </p:tgtEl>
                                      </p:cBhvr>
                                    </p:animEffect>
                                  </p:childTnLst>
                                </p:cTn>
                              </p:par>
                            </p:childTnLst>
                          </p:cTn>
                        </p:par>
                      </p:childTnLst>
                    </p:cTn>
                  </p:par>
                  <p:par>
                    <p:cTn id="78" fill="hold">
                      <p:stCondLst>
                        <p:cond delay="indefinite"/>
                      </p:stCondLst>
                      <p:childTnLst>
                        <p:par>
                          <p:cTn id="79" fill="hold">
                            <p:stCondLst>
                              <p:cond delay="0"/>
                            </p:stCondLst>
                            <p:childTnLst>
                              <p:par>
                                <p:cTn id="80" presetID="1" presetClass="entr" presetSubtype="0" fill="hold" grpId="0" nodeType="clickEffect">
                                  <p:stCondLst>
                                    <p:cond delay="0"/>
                                  </p:stCondLst>
                                  <p:childTnLst>
                                    <p:set>
                                      <p:cBhvr>
                                        <p:cTn id="81" dur="1" fill="hold">
                                          <p:stCondLst>
                                            <p:cond delay="0"/>
                                          </p:stCondLst>
                                        </p:cTn>
                                        <p:tgtEl>
                                          <p:spTgt spid="44"/>
                                        </p:tgtEl>
                                        <p:attrNameLst>
                                          <p:attrName>style.visibility</p:attrName>
                                        </p:attrNameLst>
                                      </p:cBhvr>
                                      <p:to>
                                        <p:strVal val="visible"/>
                                      </p:to>
                                    </p:se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40"/>
                                        </p:tgtEl>
                                        <p:attrNameLst>
                                          <p:attrName>style.visibility</p:attrName>
                                        </p:attrNameLst>
                                      </p:cBhvr>
                                      <p:to>
                                        <p:strVal val="visible"/>
                                      </p:to>
                                    </p:set>
                                    <p:animEffect transition="in" filter="fade">
                                      <p:cBhvr>
                                        <p:cTn id="86" dur="500"/>
                                        <p:tgtEl>
                                          <p:spTgt spid="40"/>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18"/>
                                        </p:tgtEl>
                                        <p:attrNameLst>
                                          <p:attrName>style.visibility</p:attrName>
                                        </p:attrNameLst>
                                      </p:cBhvr>
                                      <p:to>
                                        <p:strVal val="visible"/>
                                      </p:to>
                                    </p:set>
                                    <p:animEffect transition="in" filter="fade">
                                      <p:cBhvr>
                                        <p:cTn id="89" dur="500"/>
                                        <p:tgtEl>
                                          <p:spTgt spid="18"/>
                                        </p:tgtEl>
                                      </p:cBhvr>
                                    </p:animEffect>
                                  </p:childTnLst>
                                </p:cTn>
                              </p:par>
                            </p:childTnLst>
                          </p:cTn>
                        </p:par>
                      </p:childTnLst>
                    </p:cTn>
                  </p:par>
                  <p:par>
                    <p:cTn id="90" fill="hold">
                      <p:stCondLst>
                        <p:cond delay="indefinite"/>
                      </p:stCondLst>
                      <p:childTnLst>
                        <p:par>
                          <p:cTn id="91" fill="hold">
                            <p:stCondLst>
                              <p:cond delay="0"/>
                            </p:stCondLst>
                            <p:childTnLst>
                              <p:par>
                                <p:cTn id="92" presetID="1" presetClass="entr" presetSubtype="0" fill="hold" grpId="0" nodeType="clickEffect">
                                  <p:stCondLst>
                                    <p:cond delay="0"/>
                                  </p:stCondLst>
                                  <p:childTnLst>
                                    <p:set>
                                      <p:cBhvr>
                                        <p:cTn id="93" dur="1" fill="hold">
                                          <p:stCondLst>
                                            <p:cond delay="0"/>
                                          </p:stCondLst>
                                        </p:cTn>
                                        <p:tgtEl>
                                          <p:spTgt spid="45"/>
                                        </p:tgtEl>
                                        <p:attrNameLst>
                                          <p:attrName>style.visibility</p:attrName>
                                        </p:attrNameLst>
                                      </p:cBhvr>
                                      <p:to>
                                        <p:strVal val="visible"/>
                                      </p:to>
                                    </p:set>
                                  </p:childTnLst>
                                </p:cTn>
                              </p:par>
                            </p:childTnLst>
                          </p:cTn>
                        </p:par>
                      </p:childTnLst>
                    </p:cTn>
                  </p:par>
                  <p:par>
                    <p:cTn id="94" fill="hold">
                      <p:stCondLst>
                        <p:cond delay="indefinite"/>
                      </p:stCondLst>
                      <p:childTnLst>
                        <p:par>
                          <p:cTn id="95" fill="hold">
                            <p:stCondLst>
                              <p:cond delay="0"/>
                            </p:stCondLst>
                            <p:childTnLst>
                              <p:par>
                                <p:cTn id="96" presetID="10" presetClass="entr" presetSubtype="0" fill="hold" grpId="0" nodeType="clickEffect">
                                  <p:stCondLst>
                                    <p:cond delay="0"/>
                                  </p:stCondLst>
                                  <p:childTnLst>
                                    <p:set>
                                      <p:cBhvr>
                                        <p:cTn id="97" dur="1" fill="hold">
                                          <p:stCondLst>
                                            <p:cond delay="0"/>
                                          </p:stCondLst>
                                        </p:cTn>
                                        <p:tgtEl>
                                          <p:spTgt spid="13"/>
                                        </p:tgtEl>
                                        <p:attrNameLst>
                                          <p:attrName>style.visibility</p:attrName>
                                        </p:attrNameLst>
                                      </p:cBhvr>
                                      <p:to>
                                        <p:strVal val="visible"/>
                                      </p:to>
                                    </p:set>
                                    <p:animEffect transition="in" filter="fade">
                                      <p:cBhvr>
                                        <p:cTn id="98" dur="500"/>
                                        <p:tgtEl>
                                          <p:spTgt spid="13"/>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14"/>
                                        </p:tgtEl>
                                        <p:attrNameLst>
                                          <p:attrName>style.visibility</p:attrName>
                                        </p:attrNameLst>
                                      </p:cBhvr>
                                      <p:to>
                                        <p:strVal val="visible"/>
                                      </p:to>
                                    </p:set>
                                    <p:animEffect transition="in" filter="fade">
                                      <p:cBhvr>
                                        <p:cTn id="101" dur="500"/>
                                        <p:tgtEl>
                                          <p:spTgt spid="14"/>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12"/>
                                        </p:tgtEl>
                                        <p:attrNameLst>
                                          <p:attrName>style.visibility</p:attrName>
                                        </p:attrNameLst>
                                      </p:cBhvr>
                                      <p:to>
                                        <p:strVal val="visible"/>
                                      </p:to>
                                    </p:set>
                                    <p:animEffect transition="in" filter="fade">
                                      <p:cBhvr>
                                        <p:cTn id="104" dur="500"/>
                                        <p:tgtEl>
                                          <p:spTgt spid="12"/>
                                        </p:tgtEl>
                                      </p:cBhvr>
                                    </p:animEffect>
                                  </p:childTnLst>
                                </p:cTn>
                              </p:par>
                            </p:childTnLst>
                          </p:cTn>
                        </p:par>
                      </p:childTnLst>
                    </p:cTn>
                  </p:par>
                  <p:par>
                    <p:cTn id="105" fill="hold">
                      <p:stCondLst>
                        <p:cond delay="indefinite"/>
                      </p:stCondLst>
                      <p:childTnLst>
                        <p:par>
                          <p:cTn id="106" fill="hold">
                            <p:stCondLst>
                              <p:cond delay="0"/>
                            </p:stCondLst>
                            <p:childTnLst>
                              <p:par>
                                <p:cTn id="107" presetID="10" presetClass="entr" presetSubtype="0" fill="hold" grpId="0" nodeType="clickEffect">
                                  <p:stCondLst>
                                    <p:cond delay="0"/>
                                  </p:stCondLst>
                                  <p:childTnLst>
                                    <p:set>
                                      <p:cBhvr>
                                        <p:cTn id="108" dur="1" fill="hold">
                                          <p:stCondLst>
                                            <p:cond delay="0"/>
                                          </p:stCondLst>
                                        </p:cTn>
                                        <p:tgtEl>
                                          <p:spTgt spid="38"/>
                                        </p:tgtEl>
                                        <p:attrNameLst>
                                          <p:attrName>style.visibility</p:attrName>
                                        </p:attrNameLst>
                                      </p:cBhvr>
                                      <p:to>
                                        <p:strVal val="visible"/>
                                      </p:to>
                                    </p:set>
                                    <p:animEffect transition="in" filter="fade">
                                      <p:cBhvr>
                                        <p:cTn id="109" dur="500"/>
                                        <p:tgtEl>
                                          <p:spTgt spid="38"/>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39"/>
                                        </p:tgtEl>
                                        <p:attrNameLst>
                                          <p:attrName>style.visibility</p:attrName>
                                        </p:attrNameLst>
                                      </p:cBhvr>
                                      <p:to>
                                        <p:strVal val="visible"/>
                                      </p:to>
                                    </p:set>
                                    <p:animEffect transition="in" filter="fade">
                                      <p:cBhvr>
                                        <p:cTn id="112" dur="500"/>
                                        <p:tgtEl>
                                          <p:spTgt spid="39"/>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33"/>
                                        </p:tgtEl>
                                        <p:attrNameLst>
                                          <p:attrName>style.visibility</p:attrName>
                                        </p:attrNameLst>
                                      </p:cBhvr>
                                      <p:to>
                                        <p:strVal val="visible"/>
                                      </p:to>
                                    </p:set>
                                    <p:animEffect transition="in" filter="fade">
                                      <p:cBhvr>
                                        <p:cTn id="115" dur="500"/>
                                        <p:tgtEl>
                                          <p:spTgt spid="33"/>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46"/>
                                        </p:tgtEl>
                                        <p:attrNameLst>
                                          <p:attrName>style.visibility</p:attrName>
                                        </p:attrNameLst>
                                      </p:cBhvr>
                                      <p:to>
                                        <p:strVal val="visible"/>
                                      </p:to>
                                    </p:set>
                                    <p:animEffect transition="in" filter="fade">
                                      <p:cBhvr>
                                        <p:cTn id="118"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7" grpId="0" animBg="1"/>
      <p:bldP spid="40" grpId="0" animBg="1"/>
      <p:bldP spid="41" grpId="0" animBg="1"/>
      <p:bldP spid="12" grpId="0" animBg="1"/>
      <p:bldP spid="13" grpId="0" animBg="1"/>
      <p:bldP spid="14" grpId="0" animBg="1"/>
      <p:bldP spid="18" grpId="0" animBg="1"/>
      <p:bldP spid="20" grpId="0" animBg="1"/>
      <p:bldP spid="21" grpId="0" animBg="1"/>
      <p:bldP spid="19" grpId="0" animBg="1"/>
      <p:bldP spid="22" grpId="0" animBg="1"/>
      <p:bldP spid="25" grpId="0" animBg="1"/>
      <p:bldP spid="23" grpId="0" animBg="1"/>
      <p:bldP spid="24" grpId="0" animBg="1"/>
      <p:bldP spid="26" grpId="0" animBg="1"/>
      <p:bldP spid="28" grpId="0" animBg="1"/>
      <p:bldP spid="29" grpId="0" animBg="1"/>
      <p:bldP spid="2" grpId="0"/>
      <p:bldP spid="27" grpId="0" animBg="1"/>
      <p:bldP spid="30" grpId="0" animBg="1"/>
      <p:bldP spid="33" grpId="0" animBg="1"/>
      <p:bldP spid="38" grpId="0" animBg="1"/>
      <p:bldP spid="39" grpId="0" animBg="1"/>
      <p:bldP spid="42" grpId="0"/>
      <p:bldP spid="43" grpId="0"/>
      <p:bldP spid="44" grpId="0"/>
      <p:bldP spid="45" grpId="0"/>
      <p:bldP spid="4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600" dirty="0"/>
              <a:t>HDInsight</a:t>
            </a:r>
          </a:p>
        </p:txBody>
      </p:sp>
      <p:sp>
        <p:nvSpPr>
          <p:cNvPr id="3" name="Text Placeholder 2"/>
          <p:cNvSpPr>
            <a:spLocks noGrp="1"/>
          </p:cNvSpPr>
          <p:nvPr>
            <p:ph type="body" sz="quarter" idx="10"/>
          </p:nvPr>
        </p:nvSpPr>
        <p:spPr>
          <a:xfrm>
            <a:off x="274639" y="1520521"/>
            <a:ext cx="7007107" cy="2597634"/>
          </a:xfrm>
        </p:spPr>
        <p:txBody>
          <a:bodyPr/>
          <a:lstStyle/>
          <a:p>
            <a:pPr marL="571500" indent="-571500">
              <a:buFont typeface="Arial" panose="020B0604020202020204" pitchFamily="34" charset="0"/>
              <a:buChar char="•"/>
            </a:pPr>
            <a:r>
              <a:rPr lang="en-US" sz="3200" dirty="0">
                <a:solidFill>
                  <a:srgbClr val="002864"/>
                </a:solidFill>
              </a:rPr>
              <a:t>3 Modes: VM, Service, On-Demand</a:t>
            </a:r>
          </a:p>
          <a:p>
            <a:pPr marL="571500" indent="-571500">
              <a:buFont typeface="Arial" panose="020B0604020202020204" pitchFamily="34" charset="0"/>
              <a:buChar char="•"/>
            </a:pPr>
            <a:r>
              <a:rPr lang="en-US" sz="3200" dirty="0">
                <a:solidFill>
                  <a:srgbClr val="002864"/>
                </a:solidFill>
              </a:rPr>
              <a:t>Azure Storage or Azure Data Lake provides the HDFS layer</a:t>
            </a:r>
          </a:p>
          <a:p>
            <a:pPr marL="571500" indent="-571500">
              <a:buFont typeface="Arial" panose="020B0604020202020204" pitchFamily="34" charset="0"/>
              <a:buChar char="•"/>
            </a:pPr>
            <a:r>
              <a:rPr lang="en-US" sz="3200" dirty="0">
                <a:solidFill>
                  <a:srgbClr val="002864"/>
                </a:solidFill>
              </a:rPr>
              <a:t>Azure SQL Database stores metadata</a:t>
            </a:r>
          </a:p>
        </p:txBody>
      </p:sp>
      <p:pic>
        <p:nvPicPr>
          <p:cNvPr id="4" name="Picture 3"/>
          <p:cNvPicPr>
            <a:picLocks noChangeAspect="1"/>
          </p:cNvPicPr>
          <p:nvPr/>
        </p:nvPicPr>
        <p:blipFill>
          <a:blip r:embed="rId3"/>
          <a:stretch>
            <a:fillRect/>
          </a:stretch>
        </p:blipFill>
        <p:spPr>
          <a:xfrm>
            <a:off x="8341113" y="110265"/>
            <a:ext cx="3961548" cy="1188464"/>
          </a:xfrm>
          <a:prstGeom prst="rect">
            <a:avLst/>
          </a:prstGeom>
        </p:spPr>
      </p:pic>
      <p:pic>
        <p:nvPicPr>
          <p:cNvPr id="5" name="Picture 4"/>
          <p:cNvPicPr>
            <a:picLocks noChangeAspect="1"/>
          </p:cNvPicPr>
          <p:nvPr/>
        </p:nvPicPr>
        <p:blipFill>
          <a:blip r:embed="rId4"/>
          <a:stretch>
            <a:fillRect/>
          </a:stretch>
        </p:blipFill>
        <p:spPr>
          <a:xfrm>
            <a:off x="800837" y="4310139"/>
            <a:ext cx="10952549" cy="2448878"/>
          </a:xfrm>
          <a:prstGeom prst="rect">
            <a:avLst/>
          </a:prstGeom>
        </p:spPr>
      </p:pic>
    </p:spTree>
    <p:extLst>
      <p:ext uri="{BB962C8B-B14F-4D97-AF65-F5344CB8AC3E}">
        <p14:creationId xmlns:p14="http://schemas.microsoft.com/office/powerpoint/2010/main" val="193417554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recation of HDInsight on Windows</a:t>
            </a:r>
          </a:p>
        </p:txBody>
      </p:sp>
      <p:sp>
        <p:nvSpPr>
          <p:cNvPr id="3" name="Text Placeholder 2"/>
          <p:cNvSpPr>
            <a:spLocks noGrp="1"/>
          </p:cNvSpPr>
          <p:nvPr>
            <p:ph type="body" sz="quarter" idx="10"/>
          </p:nvPr>
        </p:nvSpPr>
        <p:spPr>
          <a:xfrm>
            <a:off x="274639" y="1974849"/>
            <a:ext cx="12641259" cy="4756151"/>
          </a:xfrm>
        </p:spPr>
        <p:txBody>
          <a:bodyPr/>
          <a:lstStyle/>
          <a:p>
            <a:pPr marL="342900" indent="-342900">
              <a:buFont typeface="Arial" panose="020B0604020202020204" pitchFamily="34" charset="0"/>
              <a:buChar char="•"/>
            </a:pPr>
            <a:r>
              <a:rPr lang="en-US" sz="2400" dirty="0"/>
              <a:t>HDI 3.3 is the last version of HDInsight on Windows</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HDI 3.3 will be deprecated on </a:t>
            </a:r>
            <a:r>
              <a:rPr lang="en-US" sz="2400" b="1" dirty="0"/>
              <a:t>July 31</a:t>
            </a:r>
            <a:r>
              <a:rPr lang="en-US" sz="2400" b="1" baseline="30000" dirty="0"/>
              <a:t>st</a:t>
            </a:r>
            <a:r>
              <a:rPr lang="en-US" sz="2400" b="1" dirty="0"/>
              <a:t> 2017 *</a:t>
            </a:r>
          </a:p>
          <a:p>
            <a:pPr marL="342900" indent="-342900">
              <a:buFont typeface="Arial" panose="020B0604020202020204" pitchFamily="34" charset="0"/>
              <a:buChar char="•"/>
            </a:pPr>
            <a:endParaRPr lang="en-US" sz="2400" b="1" dirty="0"/>
          </a:p>
          <a:p>
            <a:pPr marL="342900" indent="-342900">
              <a:buFont typeface="Arial" panose="020B0604020202020204" pitchFamily="34" charset="0"/>
              <a:buChar char="•"/>
            </a:pPr>
            <a:r>
              <a:rPr lang="en-US" sz="2400" dirty="0"/>
              <a:t>Refer </a:t>
            </a:r>
            <a:r>
              <a:rPr lang="en-US" sz="2400" u="sng" dirty="0">
                <a:hlinkClick r:id="rId2"/>
              </a:rPr>
              <a:t>this</a:t>
            </a:r>
            <a:r>
              <a:rPr lang="en-US" sz="2400" u="sng" dirty="0"/>
              <a:t> </a:t>
            </a:r>
            <a:r>
              <a:rPr lang="en-US" sz="2400" dirty="0"/>
              <a:t>to help migrate your customer to HDInsight on Linux</a:t>
            </a:r>
          </a:p>
          <a:p>
            <a:endParaRPr lang="en-US" sz="2400" dirty="0"/>
          </a:p>
          <a:p>
            <a:r>
              <a:rPr lang="en-US" sz="2400" b="1" dirty="0"/>
              <a:t>Impact</a:t>
            </a:r>
            <a:r>
              <a:rPr lang="en-US" sz="2400" dirty="0"/>
              <a:t>: Post Deprecation (i.e. after July 31</a:t>
            </a:r>
            <a:r>
              <a:rPr lang="en-US" sz="2400" baseline="30000" dirty="0"/>
              <a:t>st</a:t>
            </a:r>
            <a:r>
              <a:rPr lang="en-US" sz="2400" dirty="0"/>
              <a:t> 2017)</a:t>
            </a:r>
          </a:p>
          <a:p>
            <a:pPr marL="342900" lvl="1" indent="-342900">
              <a:buFont typeface="Arial" panose="020B0604020202020204" pitchFamily="34" charset="0"/>
              <a:buChar char="•"/>
            </a:pPr>
            <a:r>
              <a:rPr lang="en-US" sz="2400" dirty="0">
                <a:latin typeface="+mj-lt"/>
              </a:rPr>
              <a:t>You will not be able to create a HDInsight cluster on Windows</a:t>
            </a:r>
          </a:p>
          <a:p>
            <a:pPr marL="342900" lvl="1" indent="-342900">
              <a:buFont typeface="Arial" panose="020B0604020202020204" pitchFamily="34" charset="0"/>
              <a:buChar char="•"/>
            </a:pPr>
            <a:r>
              <a:rPr lang="en-US" sz="2400" dirty="0">
                <a:latin typeface="+mj-lt"/>
              </a:rPr>
              <a:t>You will not be able to resize an existing HDInsight on Windows cluster </a:t>
            </a:r>
          </a:p>
          <a:p>
            <a:r>
              <a:rPr lang="en-US" sz="2400" dirty="0"/>
              <a:t>* Deprecation time may vary by region.</a:t>
            </a:r>
          </a:p>
        </p:txBody>
      </p:sp>
    </p:spTree>
    <p:extLst>
      <p:ext uri="{BB962C8B-B14F-4D97-AF65-F5344CB8AC3E}">
        <p14:creationId xmlns:p14="http://schemas.microsoft.com/office/powerpoint/2010/main" val="1256443098"/>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ing HDInsight Clusters</a:t>
            </a:r>
          </a:p>
        </p:txBody>
      </p:sp>
      <p:sp>
        <p:nvSpPr>
          <p:cNvPr id="3" name="Text Placeholder 2"/>
          <p:cNvSpPr>
            <a:spLocks noGrp="1"/>
          </p:cNvSpPr>
          <p:nvPr>
            <p:ph type="body" sz="quarter" idx="10"/>
          </p:nvPr>
        </p:nvSpPr>
        <p:spPr>
          <a:xfrm>
            <a:off x="274638" y="1212850"/>
            <a:ext cx="11887200" cy="5349157"/>
          </a:xfrm>
        </p:spPr>
        <p:txBody>
          <a:bodyPr/>
          <a:lstStyle/>
          <a:p>
            <a:pPr marL="571500" indent="-571500">
              <a:buFont typeface="Arial" panose="020B0604020202020204" pitchFamily="34" charset="0"/>
              <a:buChar char="•"/>
            </a:pPr>
            <a:r>
              <a:rPr lang="en-US" sz="3600" dirty="0"/>
              <a:t>Cluster Type: Hadoop, Spark, </a:t>
            </a:r>
            <a:r>
              <a:rPr lang="en-US" sz="3600" dirty="0" smtClean="0"/>
              <a:t>R Server, </a:t>
            </a:r>
            <a:r>
              <a:rPr lang="en-US" sz="3600" dirty="0" err="1" smtClean="0"/>
              <a:t>HBase</a:t>
            </a:r>
            <a:r>
              <a:rPr lang="en-US" sz="3600" dirty="0" smtClean="0"/>
              <a:t>, Kafka, Storm, Hive LLAP</a:t>
            </a:r>
          </a:p>
          <a:p>
            <a:pPr marL="571500" indent="-571500">
              <a:buFont typeface="Arial" panose="020B0604020202020204" pitchFamily="34" charset="0"/>
              <a:buChar char="•"/>
            </a:pPr>
            <a:r>
              <a:rPr lang="en-US" sz="3600" dirty="0" smtClean="0"/>
              <a:t>Operating </a:t>
            </a:r>
            <a:r>
              <a:rPr lang="en-US" sz="3600" dirty="0"/>
              <a:t>System: Windows or Linux</a:t>
            </a:r>
          </a:p>
          <a:p>
            <a:pPr marL="571500" indent="-571500">
              <a:buFont typeface="Arial" panose="020B0604020202020204" pitchFamily="34" charset="0"/>
              <a:buChar char="•"/>
            </a:pPr>
            <a:r>
              <a:rPr lang="en-US" sz="3600" dirty="0"/>
              <a:t>Can be deployed from Azure portal</a:t>
            </a:r>
            <a:r>
              <a:rPr lang="en-US" sz="3600" dirty="0" smtClean="0"/>
              <a:t>, ARM Templates, </a:t>
            </a:r>
            <a:r>
              <a:rPr lang="en-US" sz="3600" dirty="0"/>
              <a:t>Azure Command Line Interface (CLI), or Azure </a:t>
            </a:r>
            <a:r>
              <a:rPr lang="en-US" sz="3600" dirty="0" smtClean="0"/>
              <a:t>PowerShell</a:t>
            </a:r>
            <a:endParaRPr lang="en-US" sz="3600" dirty="0"/>
          </a:p>
          <a:p>
            <a:pPr marL="571500" indent="-571500">
              <a:buFont typeface="Arial" panose="020B0604020202020204" pitchFamily="34" charset="0"/>
              <a:buChar char="•"/>
            </a:pPr>
            <a:r>
              <a:rPr lang="en-US" sz="3600" dirty="0" smtClean="0"/>
              <a:t>Cluster Management through </a:t>
            </a:r>
            <a:r>
              <a:rPr lang="en-US" sz="3600" dirty="0" err="1" smtClean="0"/>
              <a:t>Ambari</a:t>
            </a:r>
            <a:r>
              <a:rPr lang="en-US" sz="3600" dirty="0" smtClean="0"/>
              <a:t> UI and REST API</a:t>
            </a:r>
            <a:endParaRPr lang="en-US" sz="3600" dirty="0"/>
          </a:p>
          <a:p>
            <a:pPr marL="571500" indent="-571500">
              <a:buFont typeface="Arial" panose="020B0604020202020204" pitchFamily="34" charset="0"/>
              <a:buChar char="•"/>
            </a:pPr>
            <a:r>
              <a:rPr lang="en-US" sz="3600" dirty="0"/>
              <a:t>Remote Access through SSH, REST API, ODBC, JDBC</a:t>
            </a:r>
            <a:r>
              <a:rPr lang="en-US" sz="3600" dirty="0" smtClean="0"/>
              <a:t>.</a:t>
            </a:r>
          </a:p>
          <a:p>
            <a:pPr marL="571500" indent="-571500">
              <a:buFont typeface="Arial" panose="020B0604020202020204" pitchFamily="34" charset="0"/>
              <a:buChar char="•"/>
            </a:pPr>
            <a:r>
              <a:rPr lang="en-US" sz="3600" dirty="0" smtClean="0"/>
              <a:t>Premium Features: Secure Hadoop and Apache Ranger for Multi-User Administration</a:t>
            </a:r>
            <a:endParaRPr lang="en-US" sz="3600" dirty="0"/>
          </a:p>
        </p:txBody>
      </p:sp>
    </p:spTree>
    <p:extLst>
      <p:ext uri="{BB962C8B-B14F-4D97-AF65-F5344CB8AC3E}">
        <p14:creationId xmlns:p14="http://schemas.microsoft.com/office/powerpoint/2010/main" val="138663100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Hive to Query Data</a:t>
            </a:r>
          </a:p>
        </p:txBody>
      </p:sp>
      <p:sp>
        <p:nvSpPr>
          <p:cNvPr id="3" name="Text Placeholder 2"/>
          <p:cNvSpPr>
            <a:spLocks noGrp="1"/>
          </p:cNvSpPr>
          <p:nvPr>
            <p:ph type="body" sz="quarter" idx="10"/>
          </p:nvPr>
        </p:nvSpPr>
        <p:spPr>
          <a:xfrm>
            <a:off x="274638" y="1212850"/>
            <a:ext cx="7655159" cy="5269135"/>
          </a:xfrm>
        </p:spPr>
        <p:txBody>
          <a:bodyPr/>
          <a:lstStyle/>
          <a:p>
            <a:pPr marL="571500" indent="-571500">
              <a:buFont typeface="Arial" panose="020B0604020202020204" pitchFamily="34" charset="0"/>
              <a:buChar char="•"/>
            </a:pPr>
            <a:r>
              <a:rPr lang="en-US" sz="2800" dirty="0"/>
              <a:t>Hive is a higher-level abstraction of MapReduce.</a:t>
            </a:r>
          </a:p>
          <a:p>
            <a:pPr marL="571500" indent="-571500">
              <a:buFont typeface="Arial" panose="020B0604020202020204" pitchFamily="34" charset="0"/>
              <a:buChar char="•"/>
            </a:pPr>
            <a:r>
              <a:rPr lang="en-US" sz="2800" dirty="0"/>
              <a:t>It provides a structure for highly unstructured data by delivering metadata service that projects tabular schemas over folders.</a:t>
            </a:r>
          </a:p>
          <a:p>
            <a:pPr marL="571500" indent="-571500">
              <a:buFont typeface="Arial" panose="020B0604020202020204" pitchFamily="34" charset="0"/>
              <a:buChar char="•"/>
            </a:pPr>
            <a:r>
              <a:rPr lang="en-US" sz="2800" dirty="0"/>
              <a:t>Enables the contents of folders to be queried as though they were tables.</a:t>
            </a:r>
          </a:p>
          <a:p>
            <a:pPr marL="571500" indent="-571500">
              <a:buFont typeface="Arial" panose="020B0604020202020204" pitchFamily="34" charset="0"/>
              <a:buChar char="•"/>
            </a:pPr>
            <a:r>
              <a:rPr lang="en-US" sz="2800" dirty="0"/>
              <a:t>It provides a SQL-like query semantics that are translated into </a:t>
            </a:r>
            <a:r>
              <a:rPr lang="en-US" sz="2800" dirty="0" err="1"/>
              <a:t>Tez</a:t>
            </a:r>
            <a:r>
              <a:rPr lang="en-US" sz="2800" dirty="0"/>
              <a:t> or MapReduce jobs (no need to write Java or MapReduce!).</a:t>
            </a:r>
          </a:p>
          <a:p>
            <a:pPr marL="571500" indent="-571500">
              <a:buFont typeface="Arial" panose="020B0604020202020204" pitchFamily="34" charset="0"/>
              <a:buChar char="•"/>
            </a:pPr>
            <a:r>
              <a:rPr lang="en-US" sz="2800" dirty="0"/>
              <a:t>Not a relational database.</a:t>
            </a:r>
          </a:p>
          <a:p>
            <a:pPr marL="571500" indent="-571500">
              <a:buFont typeface="Arial" panose="020B0604020202020204" pitchFamily="34" charset="0"/>
              <a:buChar char="•"/>
            </a:pPr>
            <a:r>
              <a:rPr lang="en-US" sz="2800" dirty="0"/>
              <a:t>Persistent data through Azure Blob Storage.</a:t>
            </a:r>
          </a:p>
        </p:txBody>
      </p:sp>
      <p:grpSp>
        <p:nvGrpSpPr>
          <p:cNvPr id="4" name="Group 3"/>
          <p:cNvGrpSpPr/>
          <p:nvPr/>
        </p:nvGrpSpPr>
        <p:grpSpPr>
          <a:xfrm>
            <a:off x="8508402" y="1689767"/>
            <a:ext cx="2577385" cy="2509959"/>
            <a:chOff x="306837" y="2966952"/>
            <a:chExt cx="1385600" cy="1352860"/>
          </a:xfrm>
        </p:grpSpPr>
        <p:sp>
          <p:nvSpPr>
            <p:cNvPr id="5" name="Freeform 4"/>
            <p:cNvSpPr/>
            <p:nvPr/>
          </p:nvSpPr>
          <p:spPr bwMode="auto">
            <a:xfrm>
              <a:off x="688501" y="3519487"/>
              <a:ext cx="752155" cy="800325"/>
            </a:xfrm>
            <a:custGeom>
              <a:avLst/>
              <a:gdLst>
                <a:gd name="connsiteX0" fmla="*/ 338138 w 728663"/>
                <a:gd name="connsiteY0" fmla="*/ 0 h 823912"/>
                <a:gd name="connsiteX1" fmla="*/ 73819 w 728663"/>
                <a:gd name="connsiteY1" fmla="*/ 97631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35719 w 728663"/>
                <a:gd name="connsiteY1" fmla="*/ 73819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21470 w 711995"/>
                <a:gd name="connsiteY0" fmla="*/ 0 h 823912"/>
                <a:gd name="connsiteX1" fmla="*/ 80963 w 711995"/>
                <a:gd name="connsiteY1" fmla="*/ 66675 h 823912"/>
                <a:gd name="connsiteX2" fmla="*/ 0 w 711995"/>
                <a:gd name="connsiteY2" fmla="*/ 497681 h 823912"/>
                <a:gd name="connsiteX3" fmla="*/ 450057 w 711995"/>
                <a:gd name="connsiteY3" fmla="*/ 823912 h 823912"/>
                <a:gd name="connsiteX4" fmla="*/ 711995 w 711995"/>
                <a:gd name="connsiteY4" fmla="*/ 733425 h 823912"/>
                <a:gd name="connsiteX5" fmla="*/ 476251 w 711995"/>
                <a:gd name="connsiteY5" fmla="*/ 707231 h 823912"/>
                <a:gd name="connsiteX6" fmla="*/ 495301 w 711995"/>
                <a:gd name="connsiteY6" fmla="*/ 621506 h 823912"/>
                <a:gd name="connsiteX7" fmla="*/ 497682 w 711995"/>
                <a:gd name="connsiteY7" fmla="*/ 571500 h 823912"/>
                <a:gd name="connsiteX8" fmla="*/ 350045 w 711995"/>
                <a:gd name="connsiteY8" fmla="*/ 423862 h 823912"/>
                <a:gd name="connsiteX9" fmla="*/ 521495 w 711995"/>
                <a:gd name="connsiteY9" fmla="*/ 528637 h 823912"/>
                <a:gd name="connsiteX10" fmla="*/ 521495 w 711995"/>
                <a:gd name="connsiteY10" fmla="*/ 302418 h 823912"/>
                <a:gd name="connsiteX11" fmla="*/ 357189 w 711995"/>
                <a:gd name="connsiteY11" fmla="*/ 54768 h 823912"/>
                <a:gd name="connsiteX12" fmla="*/ 321470 w 711995"/>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795337"/>
                <a:gd name="connsiteX1" fmla="*/ 106836 w 737868"/>
                <a:gd name="connsiteY1" fmla="*/ 66675 h 795337"/>
                <a:gd name="connsiteX2" fmla="*/ 25873 w 737868"/>
                <a:gd name="connsiteY2" fmla="*/ 497681 h 795337"/>
                <a:gd name="connsiteX3" fmla="*/ 487836 w 737868"/>
                <a:gd name="connsiteY3" fmla="*/ 795337 h 795337"/>
                <a:gd name="connsiteX4" fmla="*/ 737868 w 737868"/>
                <a:gd name="connsiteY4" fmla="*/ 733425 h 795337"/>
                <a:gd name="connsiteX5" fmla="*/ 502124 w 737868"/>
                <a:gd name="connsiteY5" fmla="*/ 707231 h 795337"/>
                <a:gd name="connsiteX6" fmla="*/ 521174 w 737868"/>
                <a:gd name="connsiteY6" fmla="*/ 621506 h 795337"/>
                <a:gd name="connsiteX7" fmla="*/ 523555 w 737868"/>
                <a:gd name="connsiteY7" fmla="*/ 571500 h 795337"/>
                <a:gd name="connsiteX8" fmla="*/ 375918 w 737868"/>
                <a:gd name="connsiteY8" fmla="*/ 423862 h 795337"/>
                <a:gd name="connsiteX9" fmla="*/ 547368 w 737868"/>
                <a:gd name="connsiteY9" fmla="*/ 528637 h 795337"/>
                <a:gd name="connsiteX10" fmla="*/ 547368 w 737868"/>
                <a:gd name="connsiteY10" fmla="*/ 302418 h 795337"/>
                <a:gd name="connsiteX11" fmla="*/ 383062 w 737868"/>
                <a:gd name="connsiteY11" fmla="*/ 54768 h 795337"/>
                <a:gd name="connsiteX12" fmla="*/ 347343 w 737868"/>
                <a:gd name="connsiteY12" fmla="*/ 0 h 795337"/>
                <a:gd name="connsiteX0" fmla="*/ 347343 w 737868"/>
                <a:gd name="connsiteY0" fmla="*/ 0 h 800325"/>
                <a:gd name="connsiteX1" fmla="*/ 106836 w 737868"/>
                <a:gd name="connsiteY1" fmla="*/ 66675 h 800325"/>
                <a:gd name="connsiteX2" fmla="*/ 25873 w 737868"/>
                <a:gd name="connsiteY2" fmla="*/ 497681 h 800325"/>
                <a:gd name="connsiteX3" fmla="*/ 487836 w 737868"/>
                <a:gd name="connsiteY3" fmla="*/ 795337 h 800325"/>
                <a:gd name="connsiteX4" fmla="*/ 737868 w 737868"/>
                <a:gd name="connsiteY4" fmla="*/ 733425 h 800325"/>
                <a:gd name="connsiteX5" fmla="*/ 502124 w 737868"/>
                <a:gd name="connsiteY5" fmla="*/ 707231 h 800325"/>
                <a:gd name="connsiteX6" fmla="*/ 521174 w 737868"/>
                <a:gd name="connsiteY6" fmla="*/ 621506 h 800325"/>
                <a:gd name="connsiteX7" fmla="*/ 523555 w 737868"/>
                <a:gd name="connsiteY7" fmla="*/ 571500 h 800325"/>
                <a:gd name="connsiteX8" fmla="*/ 375918 w 737868"/>
                <a:gd name="connsiteY8" fmla="*/ 423862 h 800325"/>
                <a:gd name="connsiteX9" fmla="*/ 547368 w 737868"/>
                <a:gd name="connsiteY9" fmla="*/ 528637 h 800325"/>
                <a:gd name="connsiteX10" fmla="*/ 547368 w 737868"/>
                <a:gd name="connsiteY10" fmla="*/ 302418 h 800325"/>
                <a:gd name="connsiteX11" fmla="*/ 383062 w 737868"/>
                <a:gd name="connsiteY11" fmla="*/ 54768 h 800325"/>
                <a:gd name="connsiteX12" fmla="*/ 347343 w 737868"/>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502124 w 752155"/>
                <a:gd name="connsiteY5" fmla="*/ 707231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11649 w 752155"/>
                <a:gd name="connsiteY6" fmla="*/ 666751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8318 w 752155"/>
                <a:gd name="connsiteY7" fmla="*/ 642938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47368 w 752155"/>
                <a:gd name="connsiteY9" fmla="*/ 545306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37843 w 752155"/>
                <a:gd name="connsiteY9" fmla="*/ 578644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447355 w 752155"/>
                <a:gd name="connsiteY10" fmla="*/ 552451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33080 w 752155"/>
                <a:gd name="connsiteY13" fmla="*/ 435768 h 800325"/>
                <a:gd name="connsiteX14" fmla="*/ 547368 w 752155"/>
                <a:gd name="connsiteY14" fmla="*/ 302418 h 800325"/>
                <a:gd name="connsiteX15" fmla="*/ 383062 w 752155"/>
                <a:gd name="connsiteY15" fmla="*/ 54768 h 800325"/>
                <a:gd name="connsiteX16" fmla="*/ 347343 w 752155"/>
                <a:gd name="connsiteY16" fmla="*/ 0 h 80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52155" h="800325">
                  <a:moveTo>
                    <a:pt x="347343" y="0"/>
                  </a:moveTo>
                  <a:cubicBezTo>
                    <a:pt x="267174" y="22225"/>
                    <a:pt x="165574" y="11112"/>
                    <a:pt x="106836" y="66675"/>
                  </a:cubicBezTo>
                  <a:cubicBezTo>
                    <a:pt x="-11433" y="199230"/>
                    <a:pt x="-20164" y="298450"/>
                    <a:pt x="25873" y="497681"/>
                  </a:cubicBezTo>
                  <a:cubicBezTo>
                    <a:pt x="106835" y="742156"/>
                    <a:pt x="421161" y="822324"/>
                    <a:pt x="487836" y="795337"/>
                  </a:cubicBezTo>
                  <a:lnTo>
                    <a:pt x="752155" y="709613"/>
                  </a:lnTo>
                  <a:cubicBezTo>
                    <a:pt x="660079" y="719138"/>
                    <a:pt x="534668" y="731044"/>
                    <a:pt x="464024" y="695325"/>
                  </a:cubicBezTo>
                  <a:cubicBezTo>
                    <a:pt x="423940" y="688181"/>
                    <a:pt x="518793" y="698103"/>
                    <a:pt x="528318" y="685800"/>
                  </a:cubicBezTo>
                  <a:cubicBezTo>
                    <a:pt x="539034" y="677069"/>
                    <a:pt x="431878" y="688975"/>
                    <a:pt x="387824" y="614363"/>
                  </a:cubicBezTo>
                  <a:cubicBezTo>
                    <a:pt x="469976" y="611188"/>
                    <a:pt x="524349" y="619123"/>
                    <a:pt x="523555" y="607217"/>
                  </a:cubicBezTo>
                  <a:cubicBezTo>
                    <a:pt x="474343" y="604837"/>
                    <a:pt x="408461" y="600074"/>
                    <a:pt x="366392" y="557212"/>
                  </a:cubicBezTo>
                  <a:lnTo>
                    <a:pt x="383061" y="483395"/>
                  </a:lnTo>
                  <a:cubicBezTo>
                    <a:pt x="425923" y="532607"/>
                    <a:pt x="473550" y="553243"/>
                    <a:pt x="533080" y="559594"/>
                  </a:cubicBezTo>
                  <a:cubicBezTo>
                    <a:pt x="466405" y="540544"/>
                    <a:pt x="418779" y="488155"/>
                    <a:pt x="399730" y="428624"/>
                  </a:cubicBezTo>
                  <a:lnTo>
                    <a:pt x="533080" y="435768"/>
                  </a:lnTo>
                  <a:lnTo>
                    <a:pt x="547368" y="302418"/>
                  </a:lnTo>
                  <a:lnTo>
                    <a:pt x="383062" y="54768"/>
                  </a:lnTo>
                  <a:lnTo>
                    <a:pt x="347343"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grpSp>
          <p:nvGrpSpPr>
            <p:cNvPr id="6" name="Group 5"/>
            <p:cNvGrpSpPr/>
            <p:nvPr/>
          </p:nvGrpSpPr>
          <p:grpSpPr>
            <a:xfrm>
              <a:off x="306837" y="2966952"/>
              <a:ext cx="1385600" cy="1351044"/>
              <a:chOff x="1058398" y="3354141"/>
              <a:chExt cx="533724" cy="520412"/>
            </a:xfrm>
          </p:grpSpPr>
          <p:sp>
            <p:nvSpPr>
              <p:cNvPr id="7" name="Freeform 6"/>
              <p:cNvSpPr/>
              <p:nvPr/>
            </p:nvSpPr>
            <p:spPr bwMode="auto">
              <a:xfrm>
                <a:off x="1058398" y="3354142"/>
                <a:ext cx="533723" cy="415322"/>
              </a:xfrm>
              <a:custGeom>
                <a:avLst/>
                <a:gdLst>
                  <a:gd name="connsiteX0" fmla="*/ 528506 w 533723"/>
                  <a:gd name="connsiteY0" fmla="*/ 291832 h 418083"/>
                  <a:gd name="connsiteX1" fmla="*/ 510121 w 533723"/>
                  <a:gd name="connsiteY1" fmla="*/ 300446 h 418083"/>
                  <a:gd name="connsiteX2" fmla="*/ 500354 w 533723"/>
                  <a:gd name="connsiteY2" fmla="*/ 302312 h 418083"/>
                  <a:gd name="connsiteX3" fmla="*/ 489695 w 533723"/>
                  <a:gd name="connsiteY3" fmla="*/ 299159 h 418083"/>
                  <a:gd name="connsiteX4" fmla="*/ 490953 w 533723"/>
                  <a:gd name="connsiteY4" fmla="*/ 302242 h 418083"/>
                  <a:gd name="connsiteX5" fmla="*/ 490826 w 533723"/>
                  <a:gd name="connsiteY5" fmla="*/ 302554 h 418083"/>
                  <a:gd name="connsiteX6" fmla="*/ 497481 w 533723"/>
                  <a:gd name="connsiteY6" fmla="*/ 306188 h 418083"/>
                  <a:gd name="connsiteX7" fmla="*/ 505812 w 533723"/>
                  <a:gd name="connsiteY7" fmla="*/ 305901 h 418083"/>
                  <a:gd name="connsiteX8" fmla="*/ 523335 w 533723"/>
                  <a:gd name="connsiteY8" fmla="*/ 297575 h 418083"/>
                  <a:gd name="connsiteX9" fmla="*/ 528506 w 533723"/>
                  <a:gd name="connsiteY9" fmla="*/ 291832 h 418083"/>
                  <a:gd name="connsiteX10" fmla="*/ 459095 w 533723"/>
                  <a:gd name="connsiteY10" fmla="*/ 214354 h 418083"/>
                  <a:gd name="connsiteX11" fmla="*/ 470185 w 533723"/>
                  <a:gd name="connsiteY11" fmla="*/ 232917 h 418083"/>
                  <a:gd name="connsiteX12" fmla="*/ 469083 w 533723"/>
                  <a:gd name="connsiteY12" fmla="*/ 236710 h 418083"/>
                  <a:gd name="connsiteX13" fmla="*/ 465107 w 533723"/>
                  <a:gd name="connsiteY13" fmla="*/ 228628 h 418083"/>
                  <a:gd name="connsiteX14" fmla="*/ 462850 w 533723"/>
                  <a:gd name="connsiteY14" fmla="*/ 223907 h 418083"/>
                  <a:gd name="connsiteX15" fmla="*/ 461361 w 533723"/>
                  <a:gd name="connsiteY15" fmla="*/ 220754 h 418083"/>
                  <a:gd name="connsiteX16" fmla="*/ 458921 w 533723"/>
                  <a:gd name="connsiteY16" fmla="*/ 213862 h 418083"/>
                  <a:gd name="connsiteX17" fmla="*/ 459095 w 533723"/>
                  <a:gd name="connsiteY17" fmla="*/ 214354 h 418083"/>
                  <a:gd name="connsiteX18" fmla="*/ 458953 w 533723"/>
                  <a:gd name="connsiteY18" fmla="*/ 214116 h 418083"/>
                  <a:gd name="connsiteX19" fmla="*/ 231642 w 533723"/>
                  <a:gd name="connsiteY19" fmla="*/ 117869 h 418083"/>
                  <a:gd name="connsiteX20" fmla="*/ 245739 w 533723"/>
                  <a:gd name="connsiteY20" fmla="*/ 119960 h 418083"/>
                  <a:gd name="connsiteX21" fmla="*/ 247479 w 533723"/>
                  <a:gd name="connsiteY21" fmla="*/ 117948 h 418083"/>
                  <a:gd name="connsiteX22" fmla="*/ 241439 w 533723"/>
                  <a:gd name="connsiteY22" fmla="*/ 117896 h 418083"/>
                  <a:gd name="connsiteX23" fmla="*/ 231642 w 533723"/>
                  <a:gd name="connsiteY23" fmla="*/ 117869 h 418083"/>
                  <a:gd name="connsiteX24" fmla="*/ 393966 w 533723"/>
                  <a:gd name="connsiteY24" fmla="*/ 59548 h 418083"/>
                  <a:gd name="connsiteX25" fmla="*/ 394760 w 533723"/>
                  <a:gd name="connsiteY25" fmla="*/ 61641 h 418083"/>
                  <a:gd name="connsiteX26" fmla="*/ 396543 w 533723"/>
                  <a:gd name="connsiteY26" fmla="*/ 61922 h 418083"/>
                  <a:gd name="connsiteX27" fmla="*/ 135290 w 533723"/>
                  <a:gd name="connsiteY27" fmla="*/ 95 h 418083"/>
                  <a:gd name="connsiteX28" fmla="*/ 142002 w 533723"/>
                  <a:gd name="connsiteY28" fmla="*/ 118 h 418083"/>
                  <a:gd name="connsiteX29" fmla="*/ 184247 w 533723"/>
                  <a:gd name="connsiteY29" fmla="*/ 9888 h 418083"/>
                  <a:gd name="connsiteX30" fmla="*/ 237411 w 533723"/>
                  <a:gd name="connsiteY30" fmla="*/ 31727 h 418083"/>
                  <a:gd name="connsiteX31" fmla="*/ 273908 w 533723"/>
                  <a:gd name="connsiteY31" fmla="*/ 50693 h 418083"/>
                  <a:gd name="connsiteX32" fmla="*/ 300993 w 533723"/>
                  <a:gd name="connsiteY32" fmla="*/ 65241 h 418083"/>
                  <a:gd name="connsiteX33" fmla="*/ 313770 w 533723"/>
                  <a:gd name="connsiteY33" fmla="*/ 72415 h 418083"/>
                  <a:gd name="connsiteX34" fmla="*/ 317458 w 533723"/>
                  <a:gd name="connsiteY34" fmla="*/ 74704 h 418083"/>
                  <a:gd name="connsiteX35" fmla="*/ 321989 w 533723"/>
                  <a:gd name="connsiteY35" fmla="*/ 77518 h 418083"/>
                  <a:gd name="connsiteX36" fmla="*/ 328509 w 533723"/>
                  <a:gd name="connsiteY36" fmla="*/ 81728 h 418083"/>
                  <a:gd name="connsiteX37" fmla="*/ 329950 w 533723"/>
                  <a:gd name="connsiteY37" fmla="*/ 82770 h 418083"/>
                  <a:gd name="connsiteX38" fmla="*/ 322786 w 533723"/>
                  <a:gd name="connsiteY38" fmla="*/ 67357 h 418083"/>
                  <a:gd name="connsiteX39" fmla="*/ 318179 w 533723"/>
                  <a:gd name="connsiteY39" fmla="*/ 66024 h 418083"/>
                  <a:gd name="connsiteX40" fmla="*/ 315145 w 533723"/>
                  <a:gd name="connsiteY40" fmla="*/ 65146 h 418083"/>
                  <a:gd name="connsiteX41" fmla="*/ 315984 w 533723"/>
                  <a:gd name="connsiteY41" fmla="*/ 64282 h 418083"/>
                  <a:gd name="connsiteX42" fmla="*/ 336115 w 533723"/>
                  <a:gd name="connsiteY42" fmla="*/ 45493 h 418083"/>
                  <a:gd name="connsiteX43" fmla="*/ 339135 w 533723"/>
                  <a:gd name="connsiteY43" fmla="*/ 43303 h 418083"/>
                  <a:gd name="connsiteX44" fmla="*/ 344556 w 533723"/>
                  <a:gd name="connsiteY44" fmla="*/ 40552 h 418083"/>
                  <a:gd name="connsiteX45" fmla="*/ 348957 w 533723"/>
                  <a:gd name="connsiteY45" fmla="*/ 38760 h 418083"/>
                  <a:gd name="connsiteX46" fmla="*/ 368054 w 533723"/>
                  <a:gd name="connsiteY46" fmla="*/ 34807 h 418083"/>
                  <a:gd name="connsiteX47" fmla="*/ 382234 w 533723"/>
                  <a:gd name="connsiteY47" fmla="*/ 37952 h 418083"/>
                  <a:gd name="connsiteX48" fmla="*/ 390275 w 533723"/>
                  <a:gd name="connsiteY48" fmla="*/ 35652 h 418083"/>
                  <a:gd name="connsiteX49" fmla="*/ 390840 w 533723"/>
                  <a:gd name="connsiteY49" fmla="*/ 35749 h 418083"/>
                  <a:gd name="connsiteX50" fmla="*/ 391575 w 533723"/>
                  <a:gd name="connsiteY50" fmla="*/ 35894 h 418083"/>
                  <a:gd name="connsiteX51" fmla="*/ 391750 w 533723"/>
                  <a:gd name="connsiteY51" fmla="*/ 35955 h 418083"/>
                  <a:gd name="connsiteX52" fmla="*/ 392615 w 533723"/>
                  <a:gd name="connsiteY52" fmla="*/ 36327 h 418083"/>
                  <a:gd name="connsiteX53" fmla="*/ 393242 w 533723"/>
                  <a:gd name="connsiteY53" fmla="*/ 36306 h 418083"/>
                  <a:gd name="connsiteX54" fmla="*/ 393406 w 533723"/>
                  <a:gd name="connsiteY54" fmla="*/ 36317 h 418083"/>
                  <a:gd name="connsiteX55" fmla="*/ 397383 w 533723"/>
                  <a:gd name="connsiteY55" fmla="*/ 37341 h 418083"/>
                  <a:gd name="connsiteX56" fmla="*/ 408367 w 533723"/>
                  <a:gd name="connsiteY56" fmla="*/ 43126 h 418083"/>
                  <a:gd name="connsiteX57" fmla="*/ 459773 w 533723"/>
                  <a:gd name="connsiteY57" fmla="*/ 126491 h 418083"/>
                  <a:gd name="connsiteX58" fmla="*/ 441680 w 533723"/>
                  <a:gd name="connsiteY58" fmla="*/ 188008 h 418083"/>
                  <a:gd name="connsiteX59" fmla="*/ 442553 w 533723"/>
                  <a:gd name="connsiteY59" fmla="*/ 192637 h 418083"/>
                  <a:gd name="connsiteX60" fmla="*/ 443081 w 533723"/>
                  <a:gd name="connsiteY60" fmla="*/ 194875 h 418083"/>
                  <a:gd name="connsiteX61" fmla="*/ 451172 w 533723"/>
                  <a:gd name="connsiteY61" fmla="*/ 201092 h 418083"/>
                  <a:gd name="connsiteX62" fmla="*/ 458953 w 533723"/>
                  <a:gd name="connsiteY62" fmla="*/ 214116 h 418083"/>
                  <a:gd name="connsiteX63" fmla="*/ 459209 w 533723"/>
                  <a:gd name="connsiteY63" fmla="*/ 216161 h 418083"/>
                  <a:gd name="connsiteX64" fmla="*/ 460971 w 533723"/>
                  <a:gd name="connsiteY64" fmla="*/ 219929 h 418083"/>
                  <a:gd name="connsiteX65" fmla="*/ 461361 w 533723"/>
                  <a:gd name="connsiteY65" fmla="*/ 220754 h 418083"/>
                  <a:gd name="connsiteX66" fmla="*/ 470303 w 533723"/>
                  <a:gd name="connsiteY66" fmla="*/ 246015 h 418083"/>
                  <a:gd name="connsiteX67" fmla="*/ 469962 w 533723"/>
                  <a:gd name="connsiteY67" fmla="*/ 245448 h 418083"/>
                  <a:gd name="connsiteX68" fmla="*/ 468971 w 533723"/>
                  <a:gd name="connsiteY68" fmla="*/ 243799 h 418083"/>
                  <a:gd name="connsiteX69" fmla="*/ 464115 w 533723"/>
                  <a:gd name="connsiteY69" fmla="*/ 240660 h 418083"/>
                  <a:gd name="connsiteX70" fmla="*/ 457544 w 533723"/>
                  <a:gd name="connsiteY70" fmla="*/ 239804 h 418083"/>
                  <a:gd name="connsiteX71" fmla="*/ 463829 w 533723"/>
                  <a:gd name="connsiteY71" fmla="*/ 242086 h 418083"/>
                  <a:gd name="connsiteX72" fmla="*/ 469895 w 533723"/>
                  <a:gd name="connsiteY72" fmla="*/ 245979 h 418083"/>
                  <a:gd name="connsiteX73" fmla="*/ 470460 w 533723"/>
                  <a:gd name="connsiteY73" fmla="*/ 246460 h 418083"/>
                  <a:gd name="connsiteX74" fmla="*/ 485321 w 533723"/>
                  <a:gd name="connsiteY74" fmla="*/ 288443 h 418083"/>
                  <a:gd name="connsiteX75" fmla="*/ 485666 w 533723"/>
                  <a:gd name="connsiteY75" fmla="*/ 289289 h 418083"/>
                  <a:gd name="connsiteX76" fmla="*/ 485392 w 533723"/>
                  <a:gd name="connsiteY76" fmla="*/ 285754 h 418083"/>
                  <a:gd name="connsiteX77" fmla="*/ 485409 w 533723"/>
                  <a:gd name="connsiteY77" fmla="*/ 284254 h 418083"/>
                  <a:gd name="connsiteX78" fmla="*/ 485552 w 533723"/>
                  <a:gd name="connsiteY78" fmla="*/ 284634 h 418083"/>
                  <a:gd name="connsiteX79" fmla="*/ 487684 w 533723"/>
                  <a:gd name="connsiteY79" fmla="*/ 290297 h 418083"/>
                  <a:gd name="connsiteX80" fmla="*/ 487716 w 533723"/>
                  <a:gd name="connsiteY80" fmla="*/ 290381 h 418083"/>
                  <a:gd name="connsiteX81" fmla="*/ 487709 w 533723"/>
                  <a:gd name="connsiteY81" fmla="*/ 290382 h 418083"/>
                  <a:gd name="connsiteX82" fmla="*/ 486150 w 533723"/>
                  <a:gd name="connsiteY82" fmla="*/ 290474 h 418083"/>
                  <a:gd name="connsiteX83" fmla="*/ 488742 w 533723"/>
                  <a:gd name="connsiteY83" fmla="*/ 296824 h 418083"/>
                  <a:gd name="connsiteX84" fmla="*/ 494320 w 533723"/>
                  <a:gd name="connsiteY84" fmla="*/ 295556 h 418083"/>
                  <a:gd name="connsiteX85" fmla="*/ 512429 w 533723"/>
                  <a:gd name="connsiteY85" fmla="*/ 291820 h 418083"/>
                  <a:gd name="connsiteX86" fmla="*/ 519005 w 533723"/>
                  <a:gd name="connsiteY86" fmla="*/ 287509 h 418083"/>
                  <a:gd name="connsiteX87" fmla="*/ 520508 w 533723"/>
                  <a:gd name="connsiteY87" fmla="*/ 286839 h 418083"/>
                  <a:gd name="connsiteX88" fmla="*/ 522424 w 533723"/>
                  <a:gd name="connsiteY88" fmla="*/ 286502 h 418083"/>
                  <a:gd name="connsiteX89" fmla="*/ 523091 w 533723"/>
                  <a:gd name="connsiteY89" fmla="*/ 286385 h 418083"/>
                  <a:gd name="connsiteX90" fmla="*/ 525364 w 533723"/>
                  <a:gd name="connsiteY90" fmla="*/ 286646 h 418083"/>
                  <a:gd name="connsiteX91" fmla="*/ 533413 w 533723"/>
                  <a:gd name="connsiteY91" fmla="*/ 297855 h 418083"/>
                  <a:gd name="connsiteX92" fmla="*/ 530826 w 533723"/>
                  <a:gd name="connsiteY92" fmla="*/ 316249 h 418083"/>
                  <a:gd name="connsiteX93" fmla="*/ 530588 w 533723"/>
                  <a:gd name="connsiteY93" fmla="*/ 318085 h 418083"/>
                  <a:gd name="connsiteX94" fmla="*/ 530192 w 533723"/>
                  <a:gd name="connsiteY94" fmla="*/ 320320 h 418083"/>
                  <a:gd name="connsiteX95" fmla="*/ 529838 w 533723"/>
                  <a:gd name="connsiteY95" fmla="*/ 321637 h 418083"/>
                  <a:gd name="connsiteX96" fmla="*/ 526883 w 533723"/>
                  <a:gd name="connsiteY96" fmla="*/ 332653 h 418083"/>
                  <a:gd name="connsiteX97" fmla="*/ 524435 w 533723"/>
                  <a:gd name="connsiteY97" fmla="*/ 341781 h 418083"/>
                  <a:gd name="connsiteX98" fmla="*/ 519934 w 533723"/>
                  <a:gd name="connsiteY98" fmla="*/ 353045 h 418083"/>
                  <a:gd name="connsiteX99" fmla="*/ 493458 w 533723"/>
                  <a:gd name="connsiteY99" fmla="*/ 392987 h 418083"/>
                  <a:gd name="connsiteX100" fmla="*/ 421143 w 533723"/>
                  <a:gd name="connsiteY100" fmla="*/ 403455 h 418083"/>
                  <a:gd name="connsiteX101" fmla="*/ 416615 w 533723"/>
                  <a:gd name="connsiteY101" fmla="*/ 401105 h 418083"/>
                  <a:gd name="connsiteX102" fmla="*/ 415306 w 533723"/>
                  <a:gd name="connsiteY102" fmla="*/ 404311 h 418083"/>
                  <a:gd name="connsiteX103" fmla="*/ 382546 w 533723"/>
                  <a:gd name="connsiteY103" fmla="*/ 418083 h 418083"/>
                  <a:gd name="connsiteX104" fmla="*/ 364512 w 533723"/>
                  <a:gd name="connsiteY104" fmla="*/ 414388 h 418083"/>
                  <a:gd name="connsiteX105" fmla="*/ 362260 w 533723"/>
                  <a:gd name="connsiteY105" fmla="*/ 412847 h 418083"/>
                  <a:gd name="connsiteX106" fmla="*/ 359508 w 533723"/>
                  <a:gd name="connsiteY106" fmla="*/ 412530 h 418083"/>
                  <a:gd name="connsiteX107" fmla="*/ 354180 w 533723"/>
                  <a:gd name="connsiteY107" fmla="*/ 409493 h 418083"/>
                  <a:gd name="connsiteX108" fmla="*/ 351263 w 533723"/>
                  <a:gd name="connsiteY108" fmla="*/ 406931 h 418083"/>
                  <a:gd name="connsiteX109" fmla="*/ 351015 w 533723"/>
                  <a:gd name="connsiteY109" fmla="*/ 406713 h 418083"/>
                  <a:gd name="connsiteX110" fmla="*/ 348397 w 533723"/>
                  <a:gd name="connsiteY110" fmla="*/ 403432 h 418083"/>
                  <a:gd name="connsiteX111" fmla="*/ 347445 w 533723"/>
                  <a:gd name="connsiteY111" fmla="*/ 401927 h 418083"/>
                  <a:gd name="connsiteX112" fmla="*/ 345319 w 533723"/>
                  <a:gd name="connsiteY112" fmla="*/ 397536 h 418083"/>
                  <a:gd name="connsiteX113" fmla="*/ 344561 w 533723"/>
                  <a:gd name="connsiteY113" fmla="*/ 395286 h 418083"/>
                  <a:gd name="connsiteX114" fmla="*/ 335650 w 533723"/>
                  <a:gd name="connsiteY114" fmla="*/ 375455 h 418083"/>
                  <a:gd name="connsiteX115" fmla="*/ 322714 w 533723"/>
                  <a:gd name="connsiteY115" fmla="*/ 362234 h 418083"/>
                  <a:gd name="connsiteX116" fmla="*/ 319648 w 533723"/>
                  <a:gd name="connsiteY116" fmla="*/ 358159 h 418083"/>
                  <a:gd name="connsiteX117" fmla="*/ 319434 w 533723"/>
                  <a:gd name="connsiteY117" fmla="*/ 357823 h 418083"/>
                  <a:gd name="connsiteX118" fmla="*/ 314734 w 533723"/>
                  <a:gd name="connsiteY118" fmla="*/ 350455 h 418083"/>
                  <a:gd name="connsiteX119" fmla="*/ 319052 w 533723"/>
                  <a:gd name="connsiteY119" fmla="*/ 316733 h 418083"/>
                  <a:gd name="connsiteX120" fmla="*/ 323333 w 533723"/>
                  <a:gd name="connsiteY120" fmla="*/ 310656 h 418083"/>
                  <a:gd name="connsiteX121" fmla="*/ 320679 w 533723"/>
                  <a:gd name="connsiteY121" fmla="*/ 310837 h 418083"/>
                  <a:gd name="connsiteX122" fmla="*/ 316984 w 533723"/>
                  <a:gd name="connsiteY122" fmla="*/ 309959 h 418083"/>
                  <a:gd name="connsiteX123" fmla="*/ 278469 w 533723"/>
                  <a:gd name="connsiteY123" fmla="*/ 281787 h 418083"/>
                  <a:gd name="connsiteX124" fmla="*/ 279196 w 533723"/>
                  <a:gd name="connsiteY124" fmla="*/ 221148 h 418083"/>
                  <a:gd name="connsiteX125" fmla="*/ 281137 w 533723"/>
                  <a:gd name="connsiteY125" fmla="*/ 212759 h 418083"/>
                  <a:gd name="connsiteX126" fmla="*/ 280817 w 533723"/>
                  <a:gd name="connsiteY126" fmla="*/ 212855 h 418083"/>
                  <a:gd name="connsiteX127" fmla="*/ 280074 w 533723"/>
                  <a:gd name="connsiteY127" fmla="*/ 213019 h 418083"/>
                  <a:gd name="connsiteX128" fmla="*/ 208386 w 533723"/>
                  <a:gd name="connsiteY128" fmla="*/ 230868 h 418083"/>
                  <a:gd name="connsiteX129" fmla="*/ 129358 w 533723"/>
                  <a:gd name="connsiteY129" fmla="*/ 256155 h 418083"/>
                  <a:gd name="connsiteX130" fmla="*/ 76481 w 533723"/>
                  <a:gd name="connsiteY130" fmla="*/ 253856 h 418083"/>
                  <a:gd name="connsiteX131" fmla="*/ 56365 w 533723"/>
                  <a:gd name="connsiteY131" fmla="*/ 204718 h 418083"/>
                  <a:gd name="connsiteX132" fmla="*/ 6361 w 533723"/>
                  <a:gd name="connsiteY132" fmla="*/ 145234 h 418083"/>
                  <a:gd name="connsiteX133" fmla="*/ 4924 w 533723"/>
                  <a:gd name="connsiteY133" fmla="*/ 90923 h 418083"/>
                  <a:gd name="connsiteX134" fmla="*/ 26190 w 533723"/>
                  <a:gd name="connsiteY134" fmla="*/ 62762 h 418083"/>
                  <a:gd name="connsiteX135" fmla="*/ 51192 w 533723"/>
                  <a:gd name="connsiteY135" fmla="*/ 63624 h 418083"/>
                  <a:gd name="connsiteX136" fmla="*/ 92574 w 533723"/>
                  <a:gd name="connsiteY136" fmla="*/ 72245 h 418083"/>
                  <a:gd name="connsiteX137" fmla="*/ 148899 w 533723"/>
                  <a:gd name="connsiteY137" fmla="*/ 97533 h 418083"/>
                  <a:gd name="connsiteX138" fmla="*/ 100620 w 533723"/>
                  <a:gd name="connsiteY138" fmla="*/ 70233 h 418083"/>
                  <a:gd name="connsiteX139" fmla="*/ 68722 w 533723"/>
                  <a:gd name="connsiteY139" fmla="*/ 57877 h 418083"/>
                  <a:gd name="connsiteX140" fmla="*/ 95735 w 533723"/>
                  <a:gd name="connsiteY140" fmla="*/ 33739 h 418083"/>
                  <a:gd name="connsiteX141" fmla="*/ 118438 w 533723"/>
                  <a:gd name="connsiteY141" fmla="*/ 6440 h 418083"/>
                  <a:gd name="connsiteX142" fmla="*/ 135290 w 533723"/>
                  <a:gd name="connsiteY142" fmla="*/ 95 h 418083"/>
                  <a:gd name="connsiteX0" fmla="*/ 528506 w 533723"/>
                  <a:gd name="connsiteY0" fmla="*/ 291832 h 419386"/>
                  <a:gd name="connsiteX1" fmla="*/ 510121 w 533723"/>
                  <a:gd name="connsiteY1" fmla="*/ 300446 h 419386"/>
                  <a:gd name="connsiteX2" fmla="*/ 500354 w 533723"/>
                  <a:gd name="connsiteY2" fmla="*/ 302312 h 419386"/>
                  <a:gd name="connsiteX3" fmla="*/ 489695 w 533723"/>
                  <a:gd name="connsiteY3" fmla="*/ 299159 h 419386"/>
                  <a:gd name="connsiteX4" fmla="*/ 490953 w 533723"/>
                  <a:gd name="connsiteY4" fmla="*/ 302242 h 419386"/>
                  <a:gd name="connsiteX5" fmla="*/ 490826 w 533723"/>
                  <a:gd name="connsiteY5" fmla="*/ 302554 h 419386"/>
                  <a:gd name="connsiteX6" fmla="*/ 497481 w 533723"/>
                  <a:gd name="connsiteY6" fmla="*/ 306188 h 419386"/>
                  <a:gd name="connsiteX7" fmla="*/ 505812 w 533723"/>
                  <a:gd name="connsiteY7" fmla="*/ 305901 h 419386"/>
                  <a:gd name="connsiteX8" fmla="*/ 523335 w 533723"/>
                  <a:gd name="connsiteY8" fmla="*/ 297575 h 419386"/>
                  <a:gd name="connsiteX9" fmla="*/ 528506 w 533723"/>
                  <a:gd name="connsiteY9" fmla="*/ 291832 h 419386"/>
                  <a:gd name="connsiteX10" fmla="*/ 459095 w 533723"/>
                  <a:gd name="connsiteY10" fmla="*/ 214354 h 419386"/>
                  <a:gd name="connsiteX11" fmla="*/ 470185 w 533723"/>
                  <a:gd name="connsiteY11" fmla="*/ 232917 h 419386"/>
                  <a:gd name="connsiteX12" fmla="*/ 469083 w 533723"/>
                  <a:gd name="connsiteY12" fmla="*/ 236710 h 419386"/>
                  <a:gd name="connsiteX13" fmla="*/ 465107 w 533723"/>
                  <a:gd name="connsiteY13" fmla="*/ 228628 h 419386"/>
                  <a:gd name="connsiteX14" fmla="*/ 462850 w 533723"/>
                  <a:gd name="connsiteY14" fmla="*/ 223907 h 419386"/>
                  <a:gd name="connsiteX15" fmla="*/ 461361 w 533723"/>
                  <a:gd name="connsiteY15" fmla="*/ 220754 h 419386"/>
                  <a:gd name="connsiteX16" fmla="*/ 459095 w 533723"/>
                  <a:gd name="connsiteY16" fmla="*/ 214354 h 419386"/>
                  <a:gd name="connsiteX17" fmla="*/ 458921 w 533723"/>
                  <a:gd name="connsiteY17" fmla="*/ 213862 h 419386"/>
                  <a:gd name="connsiteX18" fmla="*/ 459095 w 533723"/>
                  <a:gd name="connsiteY18" fmla="*/ 214354 h 419386"/>
                  <a:gd name="connsiteX19" fmla="*/ 458953 w 533723"/>
                  <a:gd name="connsiteY19" fmla="*/ 214116 h 419386"/>
                  <a:gd name="connsiteX20" fmla="*/ 458921 w 533723"/>
                  <a:gd name="connsiteY20" fmla="*/ 213862 h 419386"/>
                  <a:gd name="connsiteX21" fmla="*/ 231642 w 533723"/>
                  <a:gd name="connsiteY21" fmla="*/ 117869 h 419386"/>
                  <a:gd name="connsiteX22" fmla="*/ 245739 w 533723"/>
                  <a:gd name="connsiteY22" fmla="*/ 119960 h 419386"/>
                  <a:gd name="connsiteX23" fmla="*/ 247479 w 533723"/>
                  <a:gd name="connsiteY23" fmla="*/ 117948 h 419386"/>
                  <a:gd name="connsiteX24" fmla="*/ 241439 w 533723"/>
                  <a:gd name="connsiteY24" fmla="*/ 117896 h 419386"/>
                  <a:gd name="connsiteX25" fmla="*/ 231642 w 533723"/>
                  <a:gd name="connsiteY25" fmla="*/ 117869 h 419386"/>
                  <a:gd name="connsiteX26" fmla="*/ 393966 w 533723"/>
                  <a:gd name="connsiteY26" fmla="*/ 59548 h 419386"/>
                  <a:gd name="connsiteX27" fmla="*/ 394760 w 533723"/>
                  <a:gd name="connsiteY27" fmla="*/ 61641 h 419386"/>
                  <a:gd name="connsiteX28" fmla="*/ 396543 w 533723"/>
                  <a:gd name="connsiteY28" fmla="*/ 61922 h 419386"/>
                  <a:gd name="connsiteX29" fmla="*/ 393966 w 533723"/>
                  <a:gd name="connsiteY29" fmla="*/ 59548 h 419386"/>
                  <a:gd name="connsiteX30" fmla="*/ 135290 w 533723"/>
                  <a:gd name="connsiteY30" fmla="*/ 95 h 419386"/>
                  <a:gd name="connsiteX31" fmla="*/ 142002 w 533723"/>
                  <a:gd name="connsiteY31" fmla="*/ 118 h 419386"/>
                  <a:gd name="connsiteX32" fmla="*/ 184247 w 533723"/>
                  <a:gd name="connsiteY32" fmla="*/ 9888 h 419386"/>
                  <a:gd name="connsiteX33" fmla="*/ 237411 w 533723"/>
                  <a:gd name="connsiteY33" fmla="*/ 31727 h 419386"/>
                  <a:gd name="connsiteX34" fmla="*/ 273908 w 533723"/>
                  <a:gd name="connsiteY34" fmla="*/ 50693 h 419386"/>
                  <a:gd name="connsiteX35" fmla="*/ 300993 w 533723"/>
                  <a:gd name="connsiteY35" fmla="*/ 65241 h 419386"/>
                  <a:gd name="connsiteX36" fmla="*/ 313770 w 533723"/>
                  <a:gd name="connsiteY36" fmla="*/ 72415 h 419386"/>
                  <a:gd name="connsiteX37" fmla="*/ 317458 w 533723"/>
                  <a:gd name="connsiteY37" fmla="*/ 74704 h 419386"/>
                  <a:gd name="connsiteX38" fmla="*/ 321989 w 533723"/>
                  <a:gd name="connsiteY38" fmla="*/ 77518 h 419386"/>
                  <a:gd name="connsiteX39" fmla="*/ 328509 w 533723"/>
                  <a:gd name="connsiteY39" fmla="*/ 81728 h 419386"/>
                  <a:gd name="connsiteX40" fmla="*/ 329950 w 533723"/>
                  <a:gd name="connsiteY40" fmla="*/ 82770 h 419386"/>
                  <a:gd name="connsiteX41" fmla="*/ 322786 w 533723"/>
                  <a:gd name="connsiteY41" fmla="*/ 67357 h 419386"/>
                  <a:gd name="connsiteX42" fmla="*/ 318179 w 533723"/>
                  <a:gd name="connsiteY42" fmla="*/ 66024 h 419386"/>
                  <a:gd name="connsiteX43" fmla="*/ 315145 w 533723"/>
                  <a:gd name="connsiteY43" fmla="*/ 65146 h 419386"/>
                  <a:gd name="connsiteX44" fmla="*/ 315984 w 533723"/>
                  <a:gd name="connsiteY44" fmla="*/ 64282 h 419386"/>
                  <a:gd name="connsiteX45" fmla="*/ 336115 w 533723"/>
                  <a:gd name="connsiteY45" fmla="*/ 45493 h 419386"/>
                  <a:gd name="connsiteX46" fmla="*/ 339135 w 533723"/>
                  <a:gd name="connsiteY46" fmla="*/ 43303 h 419386"/>
                  <a:gd name="connsiteX47" fmla="*/ 344556 w 533723"/>
                  <a:gd name="connsiteY47" fmla="*/ 40552 h 419386"/>
                  <a:gd name="connsiteX48" fmla="*/ 348957 w 533723"/>
                  <a:gd name="connsiteY48" fmla="*/ 38760 h 419386"/>
                  <a:gd name="connsiteX49" fmla="*/ 368054 w 533723"/>
                  <a:gd name="connsiteY49" fmla="*/ 34807 h 419386"/>
                  <a:gd name="connsiteX50" fmla="*/ 382234 w 533723"/>
                  <a:gd name="connsiteY50" fmla="*/ 37952 h 419386"/>
                  <a:gd name="connsiteX51" fmla="*/ 390275 w 533723"/>
                  <a:gd name="connsiteY51" fmla="*/ 35652 h 419386"/>
                  <a:gd name="connsiteX52" fmla="*/ 390840 w 533723"/>
                  <a:gd name="connsiteY52" fmla="*/ 35749 h 419386"/>
                  <a:gd name="connsiteX53" fmla="*/ 391575 w 533723"/>
                  <a:gd name="connsiteY53" fmla="*/ 35894 h 419386"/>
                  <a:gd name="connsiteX54" fmla="*/ 391750 w 533723"/>
                  <a:gd name="connsiteY54" fmla="*/ 35955 h 419386"/>
                  <a:gd name="connsiteX55" fmla="*/ 392615 w 533723"/>
                  <a:gd name="connsiteY55" fmla="*/ 36327 h 419386"/>
                  <a:gd name="connsiteX56" fmla="*/ 393242 w 533723"/>
                  <a:gd name="connsiteY56" fmla="*/ 36306 h 419386"/>
                  <a:gd name="connsiteX57" fmla="*/ 393406 w 533723"/>
                  <a:gd name="connsiteY57" fmla="*/ 36317 h 419386"/>
                  <a:gd name="connsiteX58" fmla="*/ 397383 w 533723"/>
                  <a:gd name="connsiteY58" fmla="*/ 37341 h 419386"/>
                  <a:gd name="connsiteX59" fmla="*/ 408367 w 533723"/>
                  <a:gd name="connsiteY59" fmla="*/ 43126 h 419386"/>
                  <a:gd name="connsiteX60" fmla="*/ 459773 w 533723"/>
                  <a:gd name="connsiteY60" fmla="*/ 126491 h 419386"/>
                  <a:gd name="connsiteX61" fmla="*/ 441680 w 533723"/>
                  <a:gd name="connsiteY61" fmla="*/ 188008 h 419386"/>
                  <a:gd name="connsiteX62" fmla="*/ 442553 w 533723"/>
                  <a:gd name="connsiteY62" fmla="*/ 192637 h 419386"/>
                  <a:gd name="connsiteX63" fmla="*/ 443081 w 533723"/>
                  <a:gd name="connsiteY63" fmla="*/ 194875 h 419386"/>
                  <a:gd name="connsiteX64" fmla="*/ 451172 w 533723"/>
                  <a:gd name="connsiteY64" fmla="*/ 201092 h 419386"/>
                  <a:gd name="connsiteX65" fmla="*/ 458953 w 533723"/>
                  <a:gd name="connsiteY65" fmla="*/ 214116 h 419386"/>
                  <a:gd name="connsiteX66" fmla="*/ 459209 w 533723"/>
                  <a:gd name="connsiteY66" fmla="*/ 216161 h 419386"/>
                  <a:gd name="connsiteX67" fmla="*/ 460971 w 533723"/>
                  <a:gd name="connsiteY67" fmla="*/ 219929 h 419386"/>
                  <a:gd name="connsiteX68" fmla="*/ 461361 w 533723"/>
                  <a:gd name="connsiteY68" fmla="*/ 220754 h 419386"/>
                  <a:gd name="connsiteX69" fmla="*/ 470303 w 533723"/>
                  <a:gd name="connsiteY69" fmla="*/ 246015 h 419386"/>
                  <a:gd name="connsiteX70" fmla="*/ 469962 w 533723"/>
                  <a:gd name="connsiteY70" fmla="*/ 245448 h 419386"/>
                  <a:gd name="connsiteX71" fmla="*/ 468971 w 533723"/>
                  <a:gd name="connsiteY71" fmla="*/ 243799 h 419386"/>
                  <a:gd name="connsiteX72" fmla="*/ 464115 w 533723"/>
                  <a:gd name="connsiteY72" fmla="*/ 240660 h 419386"/>
                  <a:gd name="connsiteX73" fmla="*/ 457544 w 533723"/>
                  <a:gd name="connsiteY73" fmla="*/ 239804 h 419386"/>
                  <a:gd name="connsiteX74" fmla="*/ 463829 w 533723"/>
                  <a:gd name="connsiteY74" fmla="*/ 242086 h 419386"/>
                  <a:gd name="connsiteX75" fmla="*/ 469895 w 533723"/>
                  <a:gd name="connsiteY75" fmla="*/ 245979 h 419386"/>
                  <a:gd name="connsiteX76" fmla="*/ 470460 w 533723"/>
                  <a:gd name="connsiteY76" fmla="*/ 246460 h 419386"/>
                  <a:gd name="connsiteX77" fmla="*/ 485321 w 533723"/>
                  <a:gd name="connsiteY77" fmla="*/ 288443 h 419386"/>
                  <a:gd name="connsiteX78" fmla="*/ 485666 w 533723"/>
                  <a:gd name="connsiteY78" fmla="*/ 289289 h 419386"/>
                  <a:gd name="connsiteX79" fmla="*/ 485392 w 533723"/>
                  <a:gd name="connsiteY79" fmla="*/ 285754 h 419386"/>
                  <a:gd name="connsiteX80" fmla="*/ 485409 w 533723"/>
                  <a:gd name="connsiteY80" fmla="*/ 284254 h 419386"/>
                  <a:gd name="connsiteX81" fmla="*/ 485552 w 533723"/>
                  <a:gd name="connsiteY81" fmla="*/ 284634 h 419386"/>
                  <a:gd name="connsiteX82" fmla="*/ 487684 w 533723"/>
                  <a:gd name="connsiteY82" fmla="*/ 290297 h 419386"/>
                  <a:gd name="connsiteX83" fmla="*/ 487716 w 533723"/>
                  <a:gd name="connsiteY83" fmla="*/ 290381 h 419386"/>
                  <a:gd name="connsiteX84" fmla="*/ 487709 w 533723"/>
                  <a:gd name="connsiteY84" fmla="*/ 290382 h 419386"/>
                  <a:gd name="connsiteX85" fmla="*/ 486150 w 533723"/>
                  <a:gd name="connsiteY85" fmla="*/ 290474 h 419386"/>
                  <a:gd name="connsiteX86" fmla="*/ 488742 w 533723"/>
                  <a:gd name="connsiteY86" fmla="*/ 296824 h 419386"/>
                  <a:gd name="connsiteX87" fmla="*/ 494320 w 533723"/>
                  <a:gd name="connsiteY87" fmla="*/ 295556 h 419386"/>
                  <a:gd name="connsiteX88" fmla="*/ 512429 w 533723"/>
                  <a:gd name="connsiteY88" fmla="*/ 291820 h 419386"/>
                  <a:gd name="connsiteX89" fmla="*/ 519005 w 533723"/>
                  <a:gd name="connsiteY89" fmla="*/ 287509 h 419386"/>
                  <a:gd name="connsiteX90" fmla="*/ 520508 w 533723"/>
                  <a:gd name="connsiteY90" fmla="*/ 286839 h 419386"/>
                  <a:gd name="connsiteX91" fmla="*/ 522424 w 533723"/>
                  <a:gd name="connsiteY91" fmla="*/ 286502 h 419386"/>
                  <a:gd name="connsiteX92" fmla="*/ 523091 w 533723"/>
                  <a:gd name="connsiteY92" fmla="*/ 286385 h 419386"/>
                  <a:gd name="connsiteX93" fmla="*/ 525364 w 533723"/>
                  <a:gd name="connsiteY93" fmla="*/ 286646 h 419386"/>
                  <a:gd name="connsiteX94" fmla="*/ 533413 w 533723"/>
                  <a:gd name="connsiteY94" fmla="*/ 297855 h 419386"/>
                  <a:gd name="connsiteX95" fmla="*/ 530826 w 533723"/>
                  <a:gd name="connsiteY95" fmla="*/ 316249 h 419386"/>
                  <a:gd name="connsiteX96" fmla="*/ 530588 w 533723"/>
                  <a:gd name="connsiteY96" fmla="*/ 318085 h 419386"/>
                  <a:gd name="connsiteX97" fmla="*/ 530192 w 533723"/>
                  <a:gd name="connsiteY97" fmla="*/ 320320 h 419386"/>
                  <a:gd name="connsiteX98" fmla="*/ 529838 w 533723"/>
                  <a:gd name="connsiteY98" fmla="*/ 321637 h 419386"/>
                  <a:gd name="connsiteX99" fmla="*/ 526883 w 533723"/>
                  <a:gd name="connsiteY99" fmla="*/ 332653 h 419386"/>
                  <a:gd name="connsiteX100" fmla="*/ 524435 w 533723"/>
                  <a:gd name="connsiteY100" fmla="*/ 341781 h 419386"/>
                  <a:gd name="connsiteX101" fmla="*/ 519934 w 533723"/>
                  <a:gd name="connsiteY101" fmla="*/ 353045 h 419386"/>
                  <a:gd name="connsiteX102" fmla="*/ 493458 w 533723"/>
                  <a:gd name="connsiteY102" fmla="*/ 392987 h 419386"/>
                  <a:gd name="connsiteX103" fmla="*/ 421143 w 533723"/>
                  <a:gd name="connsiteY103" fmla="*/ 403455 h 419386"/>
                  <a:gd name="connsiteX104" fmla="*/ 416615 w 533723"/>
                  <a:gd name="connsiteY104" fmla="*/ 401105 h 419386"/>
                  <a:gd name="connsiteX105" fmla="*/ 401019 w 533723"/>
                  <a:gd name="connsiteY105" fmla="*/ 392405 h 419386"/>
                  <a:gd name="connsiteX106" fmla="*/ 382546 w 533723"/>
                  <a:gd name="connsiteY106" fmla="*/ 418083 h 419386"/>
                  <a:gd name="connsiteX107" fmla="*/ 364512 w 533723"/>
                  <a:gd name="connsiteY107" fmla="*/ 414388 h 419386"/>
                  <a:gd name="connsiteX108" fmla="*/ 362260 w 533723"/>
                  <a:gd name="connsiteY108" fmla="*/ 412847 h 419386"/>
                  <a:gd name="connsiteX109" fmla="*/ 359508 w 533723"/>
                  <a:gd name="connsiteY109" fmla="*/ 412530 h 419386"/>
                  <a:gd name="connsiteX110" fmla="*/ 354180 w 533723"/>
                  <a:gd name="connsiteY110" fmla="*/ 409493 h 419386"/>
                  <a:gd name="connsiteX111" fmla="*/ 351263 w 533723"/>
                  <a:gd name="connsiteY111" fmla="*/ 406931 h 419386"/>
                  <a:gd name="connsiteX112" fmla="*/ 351015 w 533723"/>
                  <a:gd name="connsiteY112" fmla="*/ 406713 h 419386"/>
                  <a:gd name="connsiteX113" fmla="*/ 348397 w 533723"/>
                  <a:gd name="connsiteY113" fmla="*/ 403432 h 419386"/>
                  <a:gd name="connsiteX114" fmla="*/ 347445 w 533723"/>
                  <a:gd name="connsiteY114" fmla="*/ 401927 h 419386"/>
                  <a:gd name="connsiteX115" fmla="*/ 345319 w 533723"/>
                  <a:gd name="connsiteY115" fmla="*/ 397536 h 419386"/>
                  <a:gd name="connsiteX116" fmla="*/ 344561 w 533723"/>
                  <a:gd name="connsiteY116" fmla="*/ 395286 h 419386"/>
                  <a:gd name="connsiteX117" fmla="*/ 335650 w 533723"/>
                  <a:gd name="connsiteY117" fmla="*/ 375455 h 419386"/>
                  <a:gd name="connsiteX118" fmla="*/ 322714 w 533723"/>
                  <a:gd name="connsiteY118" fmla="*/ 362234 h 419386"/>
                  <a:gd name="connsiteX119" fmla="*/ 319648 w 533723"/>
                  <a:gd name="connsiteY119" fmla="*/ 358159 h 419386"/>
                  <a:gd name="connsiteX120" fmla="*/ 319434 w 533723"/>
                  <a:gd name="connsiteY120" fmla="*/ 357823 h 419386"/>
                  <a:gd name="connsiteX121" fmla="*/ 314734 w 533723"/>
                  <a:gd name="connsiteY121" fmla="*/ 350455 h 419386"/>
                  <a:gd name="connsiteX122" fmla="*/ 319052 w 533723"/>
                  <a:gd name="connsiteY122" fmla="*/ 316733 h 419386"/>
                  <a:gd name="connsiteX123" fmla="*/ 323333 w 533723"/>
                  <a:gd name="connsiteY123" fmla="*/ 310656 h 419386"/>
                  <a:gd name="connsiteX124" fmla="*/ 320679 w 533723"/>
                  <a:gd name="connsiteY124" fmla="*/ 310837 h 419386"/>
                  <a:gd name="connsiteX125" fmla="*/ 316984 w 533723"/>
                  <a:gd name="connsiteY125" fmla="*/ 309959 h 419386"/>
                  <a:gd name="connsiteX126" fmla="*/ 278469 w 533723"/>
                  <a:gd name="connsiteY126" fmla="*/ 281787 h 419386"/>
                  <a:gd name="connsiteX127" fmla="*/ 279196 w 533723"/>
                  <a:gd name="connsiteY127" fmla="*/ 221148 h 419386"/>
                  <a:gd name="connsiteX128" fmla="*/ 281137 w 533723"/>
                  <a:gd name="connsiteY128" fmla="*/ 212759 h 419386"/>
                  <a:gd name="connsiteX129" fmla="*/ 280817 w 533723"/>
                  <a:gd name="connsiteY129" fmla="*/ 212855 h 419386"/>
                  <a:gd name="connsiteX130" fmla="*/ 280074 w 533723"/>
                  <a:gd name="connsiteY130" fmla="*/ 213019 h 419386"/>
                  <a:gd name="connsiteX131" fmla="*/ 208386 w 533723"/>
                  <a:gd name="connsiteY131" fmla="*/ 230868 h 419386"/>
                  <a:gd name="connsiteX132" fmla="*/ 129358 w 533723"/>
                  <a:gd name="connsiteY132" fmla="*/ 256155 h 419386"/>
                  <a:gd name="connsiteX133" fmla="*/ 76481 w 533723"/>
                  <a:gd name="connsiteY133" fmla="*/ 253856 h 419386"/>
                  <a:gd name="connsiteX134" fmla="*/ 56365 w 533723"/>
                  <a:gd name="connsiteY134" fmla="*/ 204718 h 419386"/>
                  <a:gd name="connsiteX135" fmla="*/ 6361 w 533723"/>
                  <a:gd name="connsiteY135" fmla="*/ 145234 h 419386"/>
                  <a:gd name="connsiteX136" fmla="*/ 4924 w 533723"/>
                  <a:gd name="connsiteY136" fmla="*/ 90923 h 419386"/>
                  <a:gd name="connsiteX137" fmla="*/ 26190 w 533723"/>
                  <a:gd name="connsiteY137" fmla="*/ 62762 h 419386"/>
                  <a:gd name="connsiteX138" fmla="*/ 51192 w 533723"/>
                  <a:gd name="connsiteY138" fmla="*/ 63624 h 419386"/>
                  <a:gd name="connsiteX139" fmla="*/ 92574 w 533723"/>
                  <a:gd name="connsiteY139" fmla="*/ 72245 h 419386"/>
                  <a:gd name="connsiteX140" fmla="*/ 148899 w 533723"/>
                  <a:gd name="connsiteY140" fmla="*/ 97533 h 419386"/>
                  <a:gd name="connsiteX141" fmla="*/ 100620 w 533723"/>
                  <a:gd name="connsiteY141" fmla="*/ 70233 h 419386"/>
                  <a:gd name="connsiteX142" fmla="*/ 68722 w 533723"/>
                  <a:gd name="connsiteY142" fmla="*/ 57877 h 419386"/>
                  <a:gd name="connsiteX143" fmla="*/ 95735 w 533723"/>
                  <a:gd name="connsiteY143" fmla="*/ 33739 h 419386"/>
                  <a:gd name="connsiteX144" fmla="*/ 118438 w 533723"/>
                  <a:gd name="connsiteY144" fmla="*/ 6440 h 419386"/>
                  <a:gd name="connsiteX145" fmla="*/ 135290 w 533723"/>
                  <a:gd name="connsiteY145" fmla="*/ 95 h 419386"/>
                  <a:gd name="connsiteX0" fmla="*/ 528506 w 533723"/>
                  <a:gd name="connsiteY0" fmla="*/ 291832 h 415347"/>
                  <a:gd name="connsiteX1" fmla="*/ 510121 w 533723"/>
                  <a:gd name="connsiteY1" fmla="*/ 300446 h 415347"/>
                  <a:gd name="connsiteX2" fmla="*/ 500354 w 533723"/>
                  <a:gd name="connsiteY2" fmla="*/ 302312 h 415347"/>
                  <a:gd name="connsiteX3" fmla="*/ 489695 w 533723"/>
                  <a:gd name="connsiteY3" fmla="*/ 299159 h 415347"/>
                  <a:gd name="connsiteX4" fmla="*/ 490953 w 533723"/>
                  <a:gd name="connsiteY4" fmla="*/ 302242 h 415347"/>
                  <a:gd name="connsiteX5" fmla="*/ 490826 w 533723"/>
                  <a:gd name="connsiteY5" fmla="*/ 302554 h 415347"/>
                  <a:gd name="connsiteX6" fmla="*/ 497481 w 533723"/>
                  <a:gd name="connsiteY6" fmla="*/ 306188 h 415347"/>
                  <a:gd name="connsiteX7" fmla="*/ 505812 w 533723"/>
                  <a:gd name="connsiteY7" fmla="*/ 305901 h 415347"/>
                  <a:gd name="connsiteX8" fmla="*/ 523335 w 533723"/>
                  <a:gd name="connsiteY8" fmla="*/ 297575 h 415347"/>
                  <a:gd name="connsiteX9" fmla="*/ 528506 w 533723"/>
                  <a:gd name="connsiteY9" fmla="*/ 291832 h 415347"/>
                  <a:gd name="connsiteX10" fmla="*/ 459095 w 533723"/>
                  <a:gd name="connsiteY10" fmla="*/ 214354 h 415347"/>
                  <a:gd name="connsiteX11" fmla="*/ 470185 w 533723"/>
                  <a:gd name="connsiteY11" fmla="*/ 232917 h 415347"/>
                  <a:gd name="connsiteX12" fmla="*/ 469083 w 533723"/>
                  <a:gd name="connsiteY12" fmla="*/ 236710 h 415347"/>
                  <a:gd name="connsiteX13" fmla="*/ 465107 w 533723"/>
                  <a:gd name="connsiteY13" fmla="*/ 228628 h 415347"/>
                  <a:gd name="connsiteX14" fmla="*/ 462850 w 533723"/>
                  <a:gd name="connsiteY14" fmla="*/ 223907 h 415347"/>
                  <a:gd name="connsiteX15" fmla="*/ 461361 w 533723"/>
                  <a:gd name="connsiteY15" fmla="*/ 220754 h 415347"/>
                  <a:gd name="connsiteX16" fmla="*/ 459095 w 533723"/>
                  <a:gd name="connsiteY16" fmla="*/ 214354 h 415347"/>
                  <a:gd name="connsiteX17" fmla="*/ 458921 w 533723"/>
                  <a:gd name="connsiteY17" fmla="*/ 213862 h 415347"/>
                  <a:gd name="connsiteX18" fmla="*/ 459095 w 533723"/>
                  <a:gd name="connsiteY18" fmla="*/ 214354 h 415347"/>
                  <a:gd name="connsiteX19" fmla="*/ 458953 w 533723"/>
                  <a:gd name="connsiteY19" fmla="*/ 214116 h 415347"/>
                  <a:gd name="connsiteX20" fmla="*/ 458921 w 533723"/>
                  <a:gd name="connsiteY20" fmla="*/ 213862 h 415347"/>
                  <a:gd name="connsiteX21" fmla="*/ 231642 w 533723"/>
                  <a:gd name="connsiteY21" fmla="*/ 117869 h 415347"/>
                  <a:gd name="connsiteX22" fmla="*/ 245739 w 533723"/>
                  <a:gd name="connsiteY22" fmla="*/ 119960 h 415347"/>
                  <a:gd name="connsiteX23" fmla="*/ 247479 w 533723"/>
                  <a:gd name="connsiteY23" fmla="*/ 117948 h 415347"/>
                  <a:gd name="connsiteX24" fmla="*/ 241439 w 533723"/>
                  <a:gd name="connsiteY24" fmla="*/ 117896 h 415347"/>
                  <a:gd name="connsiteX25" fmla="*/ 231642 w 533723"/>
                  <a:gd name="connsiteY25" fmla="*/ 117869 h 415347"/>
                  <a:gd name="connsiteX26" fmla="*/ 393966 w 533723"/>
                  <a:gd name="connsiteY26" fmla="*/ 59548 h 415347"/>
                  <a:gd name="connsiteX27" fmla="*/ 394760 w 533723"/>
                  <a:gd name="connsiteY27" fmla="*/ 61641 h 415347"/>
                  <a:gd name="connsiteX28" fmla="*/ 396543 w 533723"/>
                  <a:gd name="connsiteY28" fmla="*/ 61922 h 415347"/>
                  <a:gd name="connsiteX29" fmla="*/ 393966 w 533723"/>
                  <a:gd name="connsiteY29" fmla="*/ 59548 h 415347"/>
                  <a:gd name="connsiteX30" fmla="*/ 135290 w 533723"/>
                  <a:gd name="connsiteY30" fmla="*/ 95 h 415347"/>
                  <a:gd name="connsiteX31" fmla="*/ 142002 w 533723"/>
                  <a:gd name="connsiteY31" fmla="*/ 118 h 415347"/>
                  <a:gd name="connsiteX32" fmla="*/ 184247 w 533723"/>
                  <a:gd name="connsiteY32" fmla="*/ 9888 h 415347"/>
                  <a:gd name="connsiteX33" fmla="*/ 237411 w 533723"/>
                  <a:gd name="connsiteY33" fmla="*/ 31727 h 415347"/>
                  <a:gd name="connsiteX34" fmla="*/ 273908 w 533723"/>
                  <a:gd name="connsiteY34" fmla="*/ 50693 h 415347"/>
                  <a:gd name="connsiteX35" fmla="*/ 300993 w 533723"/>
                  <a:gd name="connsiteY35" fmla="*/ 65241 h 415347"/>
                  <a:gd name="connsiteX36" fmla="*/ 313770 w 533723"/>
                  <a:gd name="connsiteY36" fmla="*/ 72415 h 415347"/>
                  <a:gd name="connsiteX37" fmla="*/ 317458 w 533723"/>
                  <a:gd name="connsiteY37" fmla="*/ 74704 h 415347"/>
                  <a:gd name="connsiteX38" fmla="*/ 321989 w 533723"/>
                  <a:gd name="connsiteY38" fmla="*/ 77518 h 415347"/>
                  <a:gd name="connsiteX39" fmla="*/ 328509 w 533723"/>
                  <a:gd name="connsiteY39" fmla="*/ 81728 h 415347"/>
                  <a:gd name="connsiteX40" fmla="*/ 329950 w 533723"/>
                  <a:gd name="connsiteY40" fmla="*/ 82770 h 415347"/>
                  <a:gd name="connsiteX41" fmla="*/ 322786 w 533723"/>
                  <a:gd name="connsiteY41" fmla="*/ 67357 h 415347"/>
                  <a:gd name="connsiteX42" fmla="*/ 318179 w 533723"/>
                  <a:gd name="connsiteY42" fmla="*/ 66024 h 415347"/>
                  <a:gd name="connsiteX43" fmla="*/ 315145 w 533723"/>
                  <a:gd name="connsiteY43" fmla="*/ 65146 h 415347"/>
                  <a:gd name="connsiteX44" fmla="*/ 315984 w 533723"/>
                  <a:gd name="connsiteY44" fmla="*/ 64282 h 415347"/>
                  <a:gd name="connsiteX45" fmla="*/ 336115 w 533723"/>
                  <a:gd name="connsiteY45" fmla="*/ 45493 h 415347"/>
                  <a:gd name="connsiteX46" fmla="*/ 339135 w 533723"/>
                  <a:gd name="connsiteY46" fmla="*/ 43303 h 415347"/>
                  <a:gd name="connsiteX47" fmla="*/ 344556 w 533723"/>
                  <a:gd name="connsiteY47" fmla="*/ 40552 h 415347"/>
                  <a:gd name="connsiteX48" fmla="*/ 348957 w 533723"/>
                  <a:gd name="connsiteY48" fmla="*/ 38760 h 415347"/>
                  <a:gd name="connsiteX49" fmla="*/ 368054 w 533723"/>
                  <a:gd name="connsiteY49" fmla="*/ 34807 h 415347"/>
                  <a:gd name="connsiteX50" fmla="*/ 382234 w 533723"/>
                  <a:gd name="connsiteY50" fmla="*/ 37952 h 415347"/>
                  <a:gd name="connsiteX51" fmla="*/ 390275 w 533723"/>
                  <a:gd name="connsiteY51" fmla="*/ 35652 h 415347"/>
                  <a:gd name="connsiteX52" fmla="*/ 390840 w 533723"/>
                  <a:gd name="connsiteY52" fmla="*/ 35749 h 415347"/>
                  <a:gd name="connsiteX53" fmla="*/ 391575 w 533723"/>
                  <a:gd name="connsiteY53" fmla="*/ 35894 h 415347"/>
                  <a:gd name="connsiteX54" fmla="*/ 391750 w 533723"/>
                  <a:gd name="connsiteY54" fmla="*/ 35955 h 415347"/>
                  <a:gd name="connsiteX55" fmla="*/ 392615 w 533723"/>
                  <a:gd name="connsiteY55" fmla="*/ 36327 h 415347"/>
                  <a:gd name="connsiteX56" fmla="*/ 393242 w 533723"/>
                  <a:gd name="connsiteY56" fmla="*/ 36306 h 415347"/>
                  <a:gd name="connsiteX57" fmla="*/ 393406 w 533723"/>
                  <a:gd name="connsiteY57" fmla="*/ 36317 h 415347"/>
                  <a:gd name="connsiteX58" fmla="*/ 397383 w 533723"/>
                  <a:gd name="connsiteY58" fmla="*/ 37341 h 415347"/>
                  <a:gd name="connsiteX59" fmla="*/ 408367 w 533723"/>
                  <a:gd name="connsiteY59" fmla="*/ 43126 h 415347"/>
                  <a:gd name="connsiteX60" fmla="*/ 459773 w 533723"/>
                  <a:gd name="connsiteY60" fmla="*/ 126491 h 415347"/>
                  <a:gd name="connsiteX61" fmla="*/ 441680 w 533723"/>
                  <a:gd name="connsiteY61" fmla="*/ 188008 h 415347"/>
                  <a:gd name="connsiteX62" fmla="*/ 442553 w 533723"/>
                  <a:gd name="connsiteY62" fmla="*/ 192637 h 415347"/>
                  <a:gd name="connsiteX63" fmla="*/ 443081 w 533723"/>
                  <a:gd name="connsiteY63" fmla="*/ 194875 h 415347"/>
                  <a:gd name="connsiteX64" fmla="*/ 451172 w 533723"/>
                  <a:gd name="connsiteY64" fmla="*/ 201092 h 415347"/>
                  <a:gd name="connsiteX65" fmla="*/ 458953 w 533723"/>
                  <a:gd name="connsiteY65" fmla="*/ 214116 h 415347"/>
                  <a:gd name="connsiteX66" fmla="*/ 459209 w 533723"/>
                  <a:gd name="connsiteY66" fmla="*/ 216161 h 415347"/>
                  <a:gd name="connsiteX67" fmla="*/ 460971 w 533723"/>
                  <a:gd name="connsiteY67" fmla="*/ 219929 h 415347"/>
                  <a:gd name="connsiteX68" fmla="*/ 461361 w 533723"/>
                  <a:gd name="connsiteY68" fmla="*/ 220754 h 415347"/>
                  <a:gd name="connsiteX69" fmla="*/ 470303 w 533723"/>
                  <a:gd name="connsiteY69" fmla="*/ 246015 h 415347"/>
                  <a:gd name="connsiteX70" fmla="*/ 469962 w 533723"/>
                  <a:gd name="connsiteY70" fmla="*/ 245448 h 415347"/>
                  <a:gd name="connsiteX71" fmla="*/ 468971 w 533723"/>
                  <a:gd name="connsiteY71" fmla="*/ 243799 h 415347"/>
                  <a:gd name="connsiteX72" fmla="*/ 464115 w 533723"/>
                  <a:gd name="connsiteY72" fmla="*/ 240660 h 415347"/>
                  <a:gd name="connsiteX73" fmla="*/ 457544 w 533723"/>
                  <a:gd name="connsiteY73" fmla="*/ 239804 h 415347"/>
                  <a:gd name="connsiteX74" fmla="*/ 463829 w 533723"/>
                  <a:gd name="connsiteY74" fmla="*/ 242086 h 415347"/>
                  <a:gd name="connsiteX75" fmla="*/ 469895 w 533723"/>
                  <a:gd name="connsiteY75" fmla="*/ 245979 h 415347"/>
                  <a:gd name="connsiteX76" fmla="*/ 470460 w 533723"/>
                  <a:gd name="connsiteY76" fmla="*/ 246460 h 415347"/>
                  <a:gd name="connsiteX77" fmla="*/ 485321 w 533723"/>
                  <a:gd name="connsiteY77" fmla="*/ 288443 h 415347"/>
                  <a:gd name="connsiteX78" fmla="*/ 485666 w 533723"/>
                  <a:gd name="connsiteY78" fmla="*/ 289289 h 415347"/>
                  <a:gd name="connsiteX79" fmla="*/ 485392 w 533723"/>
                  <a:gd name="connsiteY79" fmla="*/ 285754 h 415347"/>
                  <a:gd name="connsiteX80" fmla="*/ 485409 w 533723"/>
                  <a:gd name="connsiteY80" fmla="*/ 284254 h 415347"/>
                  <a:gd name="connsiteX81" fmla="*/ 485552 w 533723"/>
                  <a:gd name="connsiteY81" fmla="*/ 284634 h 415347"/>
                  <a:gd name="connsiteX82" fmla="*/ 487684 w 533723"/>
                  <a:gd name="connsiteY82" fmla="*/ 290297 h 415347"/>
                  <a:gd name="connsiteX83" fmla="*/ 487716 w 533723"/>
                  <a:gd name="connsiteY83" fmla="*/ 290381 h 415347"/>
                  <a:gd name="connsiteX84" fmla="*/ 487709 w 533723"/>
                  <a:gd name="connsiteY84" fmla="*/ 290382 h 415347"/>
                  <a:gd name="connsiteX85" fmla="*/ 486150 w 533723"/>
                  <a:gd name="connsiteY85" fmla="*/ 290474 h 415347"/>
                  <a:gd name="connsiteX86" fmla="*/ 488742 w 533723"/>
                  <a:gd name="connsiteY86" fmla="*/ 296824 h 415347"/>
                  <a:gd name="connsiteX87" fmla="*/ 494320 w 533723"/>
                  <a:gd name="connsiteY87" fmla="*/ 295556 h 415347"/>
                  <a:gd name="connsiteX88" fmla="*/ 512429 w 533723"/>
                  <a:gd name="connsiteY88" fmla="*/ 291820 h 415347"/>
                  <a:gd name="connsiteX89" fmla="*/ 519005 w 533723"/>
                  <a:gd name="connsiteY89" fmla="*/ 287509 h 415347"/>
                  <a:gd name="connsiteX90" fmla="*/ 520508 w 533723"/>
                  <a:gd name="connsiteY90" fmla="*/ 286839 h 415347"/>
                  <a:gd name="connsiteX91" fmla="*/ 522424 w 533723"/>
                  <a:gd name="connsiteY91" fmla="*/ 286502 h 415347"/>
                  <a:gd name="connsiteX92" fmla="*/ 523091 w 533723"/>
                  <a:gd name="connsiteY92" fmla="*/ 286385 h 415347"/>
                  <a:gd name="connsiteX93" fmla="*/ 525364 w 533723"/>
                  <a:gd name="connsiteY93" fmla="*/ 286646 h 415347"/>
                  <a:gd name="connsiteX94" fmla="*/ 533413 w 533723"/>
                  <a:gd name="connsiteY94" fmla="*/ 297855 h 415347"/>
                  <a:gd name="connsiteX95" fmla="*/ 530826 w 533723"/>
                  <a:gd name="connsiteY95" fmla="*/ 316249 h 415347"/>
                  <a:gd name="connsiteX96" fmla="*/ 530588 w 533723"/>
                  <a:gd name="connsiteY96" fmla="*/ 318085 h 415347"/>
                  <a:gd name="connsiteX97" fmla="*/ 530192 w 533723"/>
                  <a:gd name="connsiteY97" fmla="*/ 320320 h 415347"/>
                  <a:gd name="connsiteX98" fmla="*/ 529838 w 533723"/>
                  <a:gd name="connsiteY98" fmla="*/ 321637 h 415347"/>
                  <a:gd name="connsiteX99" fmla="*/ 526883 w 533723"/>
                  <a:gd name="connsiteY99" fmla="*/ 332653 h 415347"/>
                  <a:gd name="connsiteX100" fmla="*/ 524435 w 533723"/>
                  <a:gd name="connsiteY100" fmla="*/ 341781 h 415347"/>
                  <a:gd name="connsiteX101" fmla="*/ 519934 w 533723"/>
                  <a:gd name="connsiteY101" fmla="*/ 353045 h 415347"/>
                  <a:gd name="connsiteX102" fmla="*/ 493458 w 533723"/>
                  <a:gd name="connsiteY102" fmla="*/ 392987 h 415347"/>
                  <a:gd name="connsiteX103" fmla="*/ 421143 w 533723"/>
                  <a:gd name="connsiteY103" fmla="*/ 403455 h 415347"/>
                  <a:gd name="connsiteX104" fmla="*/ 416615 w 533723"/>
                  <a:gd name="connsiteY104" fmla="*/ 401105 h 415347"/>
                  <a:gd name="connsiteX105" fmla="*/ 401019 w 533723"/>
                  <a:gd name="connsiteY105" fmla="*/ 392405 h 415347"/>
                  <a:gd name="connsiteX106" fmla="*/ 381629 w 533723"/>
                  <a:gd name="connsiteY106" fmla="*/ 410745 h 415347"/>
                  <a:gd name="connsiteX107" fmla="*/ 364512 w 533723"/>
                  <a:gd name="connsiteY107" fmla="*/ 414388 h 415347"/>
                  <a:gd name="connsiteX108" fmla="*/ 362260 w 533723"/>
                  <a:gd name="connsiteY108" fmla="*/ 412847 h 415347"/>
                  <a:gd name="connsiteX109" fmla="*/ 359508 w 533723"/>
                  <a:gd name="connsiteY109" fmla="*/ 412530 h 415347"/>
                  <a:gd name="connsiteX110" fmla="*/ 354180 w 533723"/>
                  <a:gd name="connsiteY110" fmla="*/ 409493 h 415347"/>
                  <a:gd name="connsiteX111" fmla="*/ 351263 w 533723"/>
                  <a:gd name="connsiteY111" fmla="*/ 406931 h 415347"/>
                  <a:gd name="connsiteX112" fmla="*/ 351015 w 533723"/>
                  <a:gd name="connsiteY112" fmla="*/ 406713 h 415347"/>
                  <a:gd name="connsiteX113" fmla="*/ 348397 w 533723"/>
                  <a:gd name="connsiteY113" fmla="*/ 403432 h 415347"/>
                  <a:gd name="connsiteX114" fmla="*/ 347445 w 533723"/>
                  <a:gd name="connsiteY114" fmla="*/ 401927 h 415347"/>
                  <a:gd name="connsiteX115" fmla="*/ 345319 w 533723"/>
                  <a:gd name="connsiteY115" fmla="*/ 397536 h 415347"/>
                  <a:gd name="connsiteX116" fmla="*/ 344561 w 533723"/>
                  <a:gd name="connsiteY116" fmla="*/ 395286 h 415347"/>
                  <a:gd name="connsiteX117" fmla="*/ 335650 w 533723"/>
                  <a:gd name="connsiteY117" fmla="*/ 375455 h 415347"/>
                  <a:gd name="connsiteX118" fmla="*/ 322714 w 533723"/>
                  <a:gd name="connsiteY118" fmla="*/ 362234 h 415347"/>
                  <a:gd name="connsiteX119" fmla="*/ 319648 w 533723"/>
                  <a:gd name="connsiteY119" fmla="*/ 358159 h 415347"/>
                  <a:gd name="connsiteX120" fmla="*/ 319434 w 533723"/>
                  <a:gd name="connsiteY120" fmla="*/ 357823 h 415347"/>
                  <a:gd name="connsiteX121" fmla="*/ 314734 w 533723"/>
                  <a:gd name="connsiteY121" fmla="*/ 350455 h 415347"/>
                  <a:gd name="connsiteX122" fmla="*/ 319052 w 533723"/>
                  <a:gd name="connsiteY122" fmla="*/ 316733 h 415347"/>
                  <a:gd name="connsiteX123" fmla="*/ 323333 w 533723"/>
                  <a:gd name="connsiteY123" fmla="*/ 310656 h 415347"/>
                  <a:gd name="connsiteX124" fmla="*/ 320679 w 533723"/>
                  <a:gd name="connsiteY124" fmla="*/ 310837 h 415347"/>
                  <a:gd name="connsiteX125" fmla="*/ 316984 w 533723"/>
                  <a:gd name="connsiteY125" fmla="*/ 309959 h 415347"/>
                  <a:gd name="connsiteX126" fmla="*/ 278469 w 533723"/>
                  <a:gd name="connsiteY126" fmla="*/ 281787 h 415347"/>
                  <a:gd name="connsiteX127" fmla="*/ 279196 w 533723"/>
                  <a:gd name="connsiteY127" fmla="*/ 221148 h 415347"/>
                  <a:gd name="connsiteX128" fmla="*/ 281137 w 533723"/>
                  <a:gd name="connsiteY128" fmla="*/ 212759 h 415347"/>
                  <a:gd name="connsiteX129" fmla="*/ 280817 w 533723"/>
                  <a:gd name="connsiteY129" fmla="*/ 212855 h 415347"/>
                  <a:gd name="connsiteX130" fmla="*/ 280074 w 533723"/>
                  <a:gd name="connsiteY130" fmla="*/ 213019 h 415347"/>
                  <a:gd name="connsiteX131" fmla="*/ 208386 w 533723"/>
                  <a:gd name="connsiteY131" fmla="*/ 230868 h 415347"/>
                  <a:gd name="connsiteX132" fmla="*/ 129358 w 533723"/>
                  <a:gd name="connsiteY132" fmla="*/ 256155 h 415347"/>
                  <a:gd name="connsiteX133" fmla="*/ 76481 w 533723"/>
                  <a:gd name="connsiteY133" fmla="*/ 253856 h 415347"/>
                  <a:gd name="connsiteX134" fmla="*/ 56365 w 533723"/>
                  <a:gd name="connsiteY134" fmla="*/ 204718 h 415347"/>
                  <a:gd name="connsiteX135" fmla="*/ 6361 w 533723"/>
                  <a:gd name="connsiteY135" fmla="*/ 145234 h 415347"/>
                  <a:gd name="connsiteX136" fmla="*/ 4924 w 533723"/>
                  <a:gd name="connsiteY136" fmla="*/ 90923 h 415347"/>
                  <a:gd name="connsiteX137" fmla="*/ 26190 w 533723"/>
                  <a:gd name="connsiteY137" fmla="*/ 62762 h 415347"/>
                  <a:gd name="connsiteX138" fmla="*/ 51192 w 533723"/>
                  <a:gd name="connsiteY138" fmla="*/ 63624 h 415347"/>
                  <a:gd name="connsiteX139" fmla="*/ 92574 w 533723"/>
                  <a:gd name="connsiteY139" fmla="*/ 72245 h 415347"/>
                  <a:gd name="connsiteX140" fmla="*/ 148899 w 533723"/>
                  <a:gd name="connsiteY140" fmla="*/ 97533 h 415347"/>
                  <a:gd name="connsiteX141" fmla="*/ 100620 w 533723"/>
                  <a:gd name="connsiteY141" fmla="*/ 70233 h 415347"/>
                  <a:gd name="connsiteX142" fmla="*/ 68722 w 533723"/>
                  <a:gd name="connsiteY142" fmla="*/ 57877 h 415347"/>
                  <a:gd name="connsiteX143" fmla="*/ 95735 w 533723"/>
                  <a:gd name="connsiteY143" fmla="*/ 33739 h 415347"/>
                  <a:gd name="connsiteX144" fmla="*/ 118438 w 533723"/>
                  <a:gd name="connsiteY144" fmla="*/ 6440 h 415347"/>
                  <a:gd name="connsiteX145" fmla="*/ 135290 w 533723"/>
                  <a:gd name="connsiteY145" fmla="*/ 95 h 415347"/>
                  <a:gd name="connsiteX0" fmla="*/ 528506 w 533723"/>
                  <a:gd name="connsiteY0" fmla="*/ 291832 h 415322"/>
                  <a:gd name="connsiteX1" fmla="*/ 510121 w 533723"/>
                  <a:gd name="connsiteY1" fmla="*/ 300446 h 415322"/>
                  <a:gd name="connsiteX2" fmla="*/ 500354 w 533723"/>
                  <a:gd name="connsiteY2" fmla="*/ 302312 h 415322"/>
                  <a:gd name="connsiteX3" fmla="*/ 489695 w 533723"/>
                  <a:gd name="connsiteY3" fmla="*/ 299159 h 415322"/>
                  <a:gd name="connsiteX4" fmla="*/ 490953 w 533723"/>
                  <a:gd name="connsiteY4" fmla="*/ 302242 h 415322"/>
                  <a:gd name="connsiteX5" fmla="*/ 490826 w 533723"/>
                  <a:gd name="connsiteY5" fmla="*/ 302554 h 415322"/>
                  <a:gd name="connsiteX6" fmla="*/ 497481 w 533723"/>
                  <a:gd name="connsiteY6" fmla="*/ 306188 h 415322"/>
                  <a:gd name="connsiteX7" fmla="*/ 505812 w 533723"/>
                  <a:gd name="connsiteY7" fmla="*/ 305901 h 415322"/>
                  <a:gd name="connsiteX8" fmla="*/ 523335 w 533723"/>
                  <a:gd name="connsiteY8" fmla="*/ 297575 h 415322"/>
                  <a:gd name="connsiteX9" fmla="*/ 528506 w 533723"/>
                  <a:gd name="connsiteY9" fmla="*/ 291832 h 415322"/>
                  <a:gd name="connsiteX10" fmla="*/ 459095 w 533723"/>
                  <a:gd name="connsiteY10" fmla="*/ 214354 h 415322"/>
                  <a:gd name="connsiteX11" fmla="*/ 470185 w 533723"/>
                  <a:gd name="connsiteY11" fmla="*/ 232917 h 415322"/>
                  <a:gd name="connsiteX12" fmla="*/ 469083 w 533723"/>
                  <a:gd name="connsiteY12" fmla="*/ 236710 h 415322"/>
                  <a:gd name="connsiteX13" fmla="*/ 465107 w 533723"/>
                  <a:gd name="connsiteY13" fmla="*/ 228628 h 415322"/>
                  <a:gd name="connsiteX14" fmla="*/ 462850 w 533723"/>
                  <a:gd name="connsiteY14" fmla="*/ 223907 h 415322"/>
                  <a:gd name="connsiteX15" fmla="*/ 461361 w 533723"/>
                  <a:gd name="connsiteY15" fmla="*/ 220754 h 415322"/>
                  <a:gd name="connsiteX16" fmla="*/ 459095 w 533723"/>
                  <a:gd name="connsiteY16" fmla="*/ 214354 h 415322"/>
                  <a:gd name="connsiteX17" fmla="*/ 458921 w 533723"/>
                  <a:gd name="connsiteY17" fmla="*/ 213862 h 415322"/>
                  <a:gd name="connsiteX18" fmla="*/ 459095 w 533723"/>
                  <a:gd name="connsiteY18" fmla="*/ 214354 h 415322"/>
                  <a:gd name="connsiteX19" fmla="*/ 458953 w 533723"/>
                  <a:gd name="connsiteY19" fmla="*/ 214116 h 415322"/>
                  <a:gd name="connsiteX20" fmla="*/ 458921 w 533723"/>
                  <a:gd name="connsiteY20" fmla="*/ 213862 h 415322"/>
                  <a:gd name="connsiteX21" fmla="*/ 231642 w 533723"/>
                  <a:gd name="connsiteY21" fmla="*/ 117869 h 415322"/>
                  <a:gd name="connsiteX22" fmla="*/ 245739 w 533723"/>
                  <a:gd name="connsiteY22" fmla="*/ 119960 h 415322"/>
                  <a:gd name="connsiteX23" fmla="*/ 247479 w 533723"/>
                  <a:gd name="connsiteY23" fmla="*/ 117948 h 415322"/>
                  <a:gd name="connsiteX24" fmla="*/ 241439 w 533723"/>
                  <a:gd name="connsiteY24" fmla="*/ 117896 h 415322"/>
                  <a:gd name="connsiteX25" fmla="*/ 231642 w 533723"/>
                  <a:gd name="connsiteY25" fmla="*/ 117869 h 415322"/>
                  <a:gd name="connsiteX26" fmla="*/ 393966 w 533723"/>
                  <a:gd name="connsiteY26" fmla="*/ 59548 h 415322"/>
                  <a:gd name="connsiteX27" fmla="*/ 394760 w 533723"/>
                  <a:gd name="connsiteY27" fmla="*/ 61641 h 415322"/>
                  <a:gd name="connsiteX28" fmla="*/ 396543 w 533723"/>
                  <a:gd name="connsiteY28" fmla="*/ 61922 h 415322"/>
                  <a:gd name="connsiteX29" fmla="*/ 393966 w 533723"/>
                  <a:gd name="connsiteY29" fmla="*/ 59548 h 415322"/>
                  <a:gd name="connsiteX30" fmla="*/ 135290 w 533723"/>
                  <a:gd name="connsiteY30" fmla="*/ 95 h 415322"/>
                  <a:gd name="connsiteX31" fmla="*/ 142002 w 533723"/>
                  <a:gd name="connsiteY31" fmla="*/ 118 h 415322"/>
                  <a:gd name="connsiteX32" fmla="*/ 184247 w 533723"/>
                  <a:gd name="connsiteY32" fmla="*/ 9888 h 415322"/>
                  <a:gd name="connsiteX33" fmla="*/ 237411 w 533723"/>
                  <a:gd name="connsiteY33" fmla="*/ 31727 h 415322"/>
                  <a:gd name="connsiteX34" fmla="*/ 273908 w 533723"/>
                  <a:gd name="connsiteY34" fmla="*/ 50693 h 415322"/>
                  <a:gd name="connsiteX35" fmla="*/ 300993 w 533723"/>
                  <a:gd name="connsiteY35" fmla="*/ 65241 h 415322"/>
                  <a:gd name="connsiteX36" fmla="*/ 313770 w 533723"/>
                  <a:gd name="connsiteY36" fmla="*/ 72415 h 415322"/>
                  <a:gd name="connsiteX37" fmla="*/ 317458 w 533723"/>
                  <a:gd name="connsiteY37" fmla="*/ 74704 h 415322"/>
                  <a:gd name="connsiteX38" fmla="*/ 321989 w 533723"/>
                  <a:gd name="connsiteY38" fmla="*/ 77518 h 415322"/>
                  <a:gd name="connsiteX39" fmla="*/ 328509 w 533723"/>
                  <a:gd name="connsiteY39" fmla="*/ 81728 h 415322"/>
                  <a:gd name="connsiteX40" fmla="*/ 329950 w 533723"/>
                  <a:gd name="connsiteY40" fmla="*/ 82770 h 415322"/>
                  <a:gd name="connsiteX41" fmla="*/ 322786 w 533723"/>
                  <a:gd name="connsiteY41" fmla="*/ 67357 h 415322"/>
                  <a:gd name="connsiteX42" fmla="*/ 318179 w 533723"/>
                  <a:gd name="connsiteY42" fmla="*/ 66024 h 415322"/>
                  <a:gd name="connsiteX43" fmla="*/ 315145 w 533723"/>
                  <a:gd name="connsiteY43" fmla="*/ 65146 h 415322"/>
                  <a:gd name="connsiteX44" fmla="*/ 315984 w 533723"/>
                  <a:gd name="connsiteY44" fmla="*/ 64282 h 415322"/>
                  <a:gd name="connsiteX45" fmla="*/ 336115 w 533723"/>
                  <a:gd name="connsiteY45" fmla="*/ 45493 h 415322"/>
                  <a:gd name="connsiteX46" fmla="*/ 339135 w 533723"/>
                  <a:gd name="connsiteY46" fmla="*/ 43303 h 415322"/>
                  <a:gd name="connsiteX47" fmla="*/ 344556 w 533723"/>
                  <a:gd name="connsiteY47" fmla="*/ 40552 h 415322"/>
                  <a:gd name="connsiteX48" fmla="*/ 348957 w 533723"/>
                  <a:gd name="connsiteY48" fmla="*/ 38760 h 415322"/>
                  <a:gd name="connsiteX49" fmla="*/ 368054 w 533723"/>
                  <a:gd name="connsiteY49" fmla="*/ 34807 h 415322"/>
                  <a:gd name="connsiteX50" fmla="*/ 382234 w 533723"/>
                  <a:gd name="connsiteY50" fmla="*/ 37952 h 415322"/>
                  <a:gd name="connsiteX51" fmla="*/ 390275 w 533723"/>
                  <a:gd name="connsiteY51" fmla="*/ 35652 h 415322"/>
                  <a:gd name="connsiteX52" fmla="*/ 390840 w 533723"/>
                  <a:gd name="connsiteY52" fmla="*/ 35749 h 415322"/>
                  <a:gd name="connsiteX53" fmla="*/ 391575 w 533723"/>
                  <a:gd name="connsiteY53" fmla="*/ 35894 h 415322"/>
                  <a:gd name="connsiteX54" fmla="*/ 391750 w 533723"/>
                  <a:gd name="connsiteY54" fmla="*/ 35955 h 415322"/>
                  <a:gd name="connsiteX55" fmla="*/ 392615 w 533723"/>
                  <a:gd name="connsiteY55" fmla="*/ 36327 h 415322"/>
                  <a:gd name="connsiteX56" fmla="*/ 393242 w 533723"/>
                  <a:gd name="connsiteY56" fmla="*/ 36306 h 415322"/>
                  <a:gd name="connsiteX57" fmla="*/ 393406 w 533723"/>
                  <a:gd name="connsiteY57" fmla="*/ 36317 h 415322"/>
                  <a:gd name="connsiteX58" fmla="*/ 397383 w 533723"/>
                  <a:gd name="connsiteY58" fmla="*/ 37341 h 415322"/>
                  <a:gd name="connsiteX59" fmla="*/ 408367 w 533723"/>
                  <a:gd name="connsiteY59" fmla="*/ 43126 h 415322"/>
                  <a:gd name="connsiteX60" fmla="*/ 459773 w 533723"/>
                  <a:gd name="connsiteY60" fmla="*/ 126491 h 415322"/>
                  <a:gd name="connsiteX61" fmla="*/ 441680 w 533723"/>
                  <a:gd name="connsiteY61" fmla="*/ 188008 h 415322"/>
                  <a:gd name="connsiteX62" fmla="*/ 442553 w 533723"/>
                  <a:gd name="connsiteY62" fmla="*/ 192637 h 415322"/>
                  <a:gd name="connsiteX63" fmla="*/ 443081 w 533723"/>
                  <a:gd name="connsiteY63" fmla="*/ 194875 h 415322"/>
                  <a:gd name="connsiteX64" fmla="*/ 451172 w 533723"/>
                  <a:gd name="connsiteY64" fmla="*/ 201092 h 415322"/>
                  <a:gd name="connsiteX65" fmla="*/ 458953 w 533723"/>
                  <a:gd name="connsiteY65" fmla="*/ 214116 h 415322"/>
                  <a:gd name="connsiteX66" fmla="*/ 459209 w 533723"/>
                  <a:gd name="connsiteY66" fmla="*/ 216161 h 415322"/>
                  <a:gd name="connsiteX67" fmla="*/ 460971 w 533723"/>
                  <a:gd name="connsiteY67" fmla="*/ 219929 h 415322"/>
                  <a:gd name="connsiteX68" fmla="*/ 461361 w 533723"/>
                  <a:gd name="connsiteY68" fmla="*/ 220754 h 415322"/>
                  <a:gd name="connsiteX69" fmla="*/ 470303 w 533723"/>
                  <a:gd name="connsiteY69" fmla="*/ 246015 h 415322"/>
                  <a:gd name="connsiteX70" fmla="*/ 469962 w 533723"/>
                  <a:gd name="connsiteY70" fmla="*/ 245448 h 415322"/>
                  <a:gd name="connsiteX71" fmla="*/ 468971 w 533723"/>
                  <a:gd name="connsiteY71" fmla="*/ 243799 h 415322"/>
                  <a:gd name="connsiteX72" fmla="*/ 464115 w 533723"/>
                  <a:gd name="connsiteY72" fmla="*/ 240660 h 415322"/>
                  <a:gd name="connsiteX73" fmla="*/ 457544 w 533723"/>
                  <a:gd name="connsiteY73" fmla="*/ 239804 h 415322"/>
                  <a:gd name="connsiteX74" fmla="*/ 463829 w 533723"/>
                  <a:gd name="connsiteY74" fmla="*/ 242086 h 415322"/>
                  <a:gd name="connsiteX75" fmla="*/ 469895 w 533723"/>
                  <a:gd name="connsiteY75" fmla="*/ 245979 h 415322"/>
                  <a:gd name="connsiteX76" fmla="*/ 470460 w 533723"/>
                  <a:gd name="connsiteY76" fmla="*/ 246460 h 415322"/>
                  <a:gd name="connsiteX77" fmla="*/ 485321 w 533723"/>
                  <a:gd name="connsiteY77" fmla="*/ 288443 h 415322"/>
                  <a:gd name="connsiteX78" fmla="*/ 485666 w 533723"/>
                  <a:gd name="connsiteY78" fmla="*/ 289289 h 415322"/>
                  <a:gd name="connsiteX79" fmla="*/ 485392 w 533723"/>
                  <a:gd name="connsiteY79" fmla="*/ 285754 h 415322"/>
                  <a:gd name="connsiteX80" fmla="*/ 485409 w 533723"/>
                  <a:gd name="connsiteY80" fmla="*/ 284254 h 415322"/>
                  <a:gd name="connsiteX81" fmla="*/ 485552 w 533723"/>
                  <a:gd name="connsiteY81" fmla="*/ 284634 h 415322"/>
                  <a:gd name="connsiteX82" fmla="*/ 487684 w 533723"/>
                  <a:gd name="connsiteY82" fmla="*/ 290297 h 415322"/>
                  <a:gd name="connsiteX83" fmla="*/ 487716 w 533723"/>
                  <a:gd name="connsiteY83" fmla="*/ 290381 h 415322"/>
                  <a:gd name="connsiteX84" fmla="*/ 487709 w 533723"/>
                  <a:gd name="connsiteY84" fmla="*/ 290382 h 415322"/>
                  <a:gd name="connsiteX85" fmla="*/ 486150 w 533723"/>
                  <a:gd name="connsiteY85" fmla="*/ 290474 h 415322"/>
                  <a:gd name="connsiteX86" fmla="*/ 488742 w 533723"/>
                  <a:gd name="connsiteY86" fmla="*/ 296824 h 415322"/>
                  <a:gd name="connsiteX87" fmla="*/ 494320 w 533723"/>
                  <a:gd name="connsiteY87" fmla="*/ 295556 h 415322"/>
                  <a:gd name="connsiteX88" fmla="*/ 512429 w 533723"/>
                  <a:gd name="connsiteY88" fmla="*/ 291820 h 415322"/>
                  <a:gd name="connsiteX89" fmla="*/ 519005 w 533723"/>
                  <a:gd name="connsiteY89" fmla="*/ 287509 h 415322"/>
                  <a:gd name="connsiteX90" fmla="*/ 520508 w 533723"/>
                  <a:gd name="connsiteY90" fmla="*/ 286839 h 415322"/>
                  <a:gd name="connsiteX91" fmla="*/ 522424 w 533723"/>
                  <a:gd name="connsiteY91" fmla="*/ 286502 h 415322"/>
                  <a:gd name="connsiteX92" fmla="*/ 523091 w 533723"/>
                  <a:gd name="connsiteY92" fmla="*/ 286385 h 415322"/>
                  <a:gd name="connsiteX93" fmla="*/ 525364 w 533723"/>
                  <a:gd name="connsiteY93" fmla="*/ 286646 h 415322"/>
                  <a:gd name="connsiteX94" fmla="*/ 533413 w 533723"/>
                  <a:gd name="connsiteY94" fmla="*/ 297855 h 415322"/>
                  <a:gd name="connsiteX95" fmla="*/ 530826 w 533723"/>
                  <a:gd name="connsiteY95" fmla="*/ 316249 h 415322"/>
                  <a:gd name="connsiteX96" fmla="*/ 530588 w 533723"/>
                  <a:gd name="connsiteY96" fmla="*/ 318085 h 415322"/>
                  <a:gd name="connsiteX97" fmla="*/ 530192 w 533723"/>
                  <a:gd name="connsiteY97" fmla="*/ 320320 h 415322"/>
                  <a:gd name="connsiteX98" fmla="*/ 529838 w 533723"/>
                  <a:gd name="connsiteY98" fmla="*/ 321637 h 415322"/>
                  <a:gd name="connsiteX99" fmla="*/ 526883 w 533723"/>
                  <a:gd name="connsiteY99" fmla="*/ 332653 h 415322"/>
                  <a:gd name="connsiteX100" fmla="*/ 524435 w 533723"/>
                  <a:gd name="connsiteY100" fmla="*/ 341781 h 415322"/>
                  <a:gd name="connsiteX101" fmla="*/ 519934 w 533723"/>
                  <a:gd name="connsiteY101" fmla="*/ 353045 h 415322"/>
                  <a:gd name="connsiteX102" fmla="*/ 493458 w 533723"/>
                  <a:gd name="connsiteY102" fmla="*/ 392987 h 415322"/>
                  <a:gd name="connsiteX103" fmla="*/ 421143 w 533723"/>
                  <a:gd name="connsiteY103" fmla="*/ 403455 h 415322"/>
                  <a:gd name="connsiteX104" fmla="*/ 416615 w 533723"/>
                  <a:gd name="connsiteY104" fmla="*/ 401105 h 415322"/>
                  <a:gd name="connsiteX105" fmla="*/ 403771 w 533723"/>
                  <a:gd name="connsiteY105" fmla="*/ 393322 h 415322"/>
                  <a:gd name="connsiteX106" fmla="*/ 381629 w 533723"/>
                  <a:gd name="connsiteY106" fmla="*/ 410745 h 415322"/>
                  <a:gd name="connsiteX107" fmla="*/ 364512 w 533723"/>
                  <a:gd name="connsiteY107" fmla="*/ 414388 h 415322"/>
                  <a:gd name="connsiteX108" fmla="*/ 362260 w 533723"/>
                  <a:gd name="connsiteY108" fmla="*/ 412847 h 415322"/>
                  <a:gd name="connsiteX109" fmla="*/ 359508 w 533723"/>
                  <a:gd name="connsiteY109" fmla="*/ 412530 h 415322"/>
                  <a:gd name="connsiteX110" fmla="*/ 354180 w 533723"/>
                  <a:gd name="connsiteY110" fmla="*/ 409493 h 415322"/>
                  <a:gd name="connsiteX111" fmla="*/ 351263 w 533723"/>
                  <a:gd name="connsiteY111" fmla="*/ 406931 h 415322"/>
                  <a:gd name="connsiteX112" fmla="*/ 351015 w 533723"/>
                  <a:gd name="connsiteY112" fmla="*/ 406713 h 415322"/>
                  <a:gd name="connsiteX113" fmla="*/ 348397 w 533723"/>
                  <a:gd name="connsiteY113" fmla="*/ 403432 h 415322"/>
                  <a:gd name="connsiteX114" fmla="*/ 347445 w 533723"/>
                  <a:gd name="connsiteY114" fmla="*/ 401927 h 415322"/>
                  <a:gd name="connsiteX115" fmla="*/ 345319 w 533723"/>
                  <a:gd name="connsiteY115" fmla="*/ 397536 h 415322"/>
                  <a:gd name="connsiteX116" fmla="*/ 344561 w 533723"/>
                  <a:gd name="connsiteY116" fmla="*/ 395286 h 415322"/>
                  <a:gd name="connsiteX117" fmla="*/ 335650 w 533723"/>
                  <a:gd name="connsiteY117" fmla="*/ 375455 h 415322"/>
                  <a:gd name="connsiteX118" fmla="*/ 322714 w 533723"/>
                  <a:gd name="connsiteY118" fmla="*/ 362234 h 415322"/>
                  <a:gd name="connsiteX119" fmla="*/ 319648 w 533723"/>
                  <a:gd name="connsiteY119" fmla="*/ 358159 h 415322"/>
                  <a:gd name="connsiteX120" fmla="*/ 319434 w 533723"/>
                  <a:gd name="connsiteY120" fmla="*/ 357823 h 415322"/>
                  <a:gd name="connsiteX121" fmla="*/ 314734 w 533723"/>
                  <a:gd name="connsiteY121" fmla="*/ 350455 h 415322"/>
                  <a:gd name="connsiteX122" fmla="*/ 319052 w 533723"/>
                  <a:gd name="connsiteY122" fmla="*/ 316733 h 415322"/>
                  <a:gd name="connsiteX123" fmla="*/ 323333 w 533723"/>
                  <a:gd name="connsiteY123" fmla="*/ 310656 h 415322"/>
                  <a:gd name="connsiteX124" fmla="*/ 320679 w 533723"/>
                  <a:gd name="connsiteY124" fmla="*/ 310837 h 415322"/>
                  <a:gd name="connsiteX125" fmla="*/ 316984 w 533723"/>
                  <a:gd name="connsiteY125" fmla="*/ 309959 h 415322"/>
                  <a:gd name="connsiteX126" fmla="*/ 278469 w 533723"/>
                  <a:gd name="connsiteY126" fmla="*/ 281787 h 415322"/>
                  <a:gd name="connsiteX127" fmla="*/ 279196 w 533723"/>
                  <a:gd name="connsiteY127" fmla="*/ 221148 h 415322"/>
                  <a:gd name="connsiteX128" fmla="*/ 281137 w 533723"/>
                  <a:gd name="connsiteY128" fmla="*/ 212759 h 415322"/>
                  <a:gd name="connsiteX129" fmla="*/ 280817 w 533723"/>
                  <a:gd name="connsiteY129" fmla="*/ 212855 h 415322"/>
                  <a:gd name="connsiteX130" fmla="*/ 280074 w 533723"/>
                  <a:gd name="connsiteY130" fmla="*/ 213019 h 415322"/>
                  <a:gd name="connsiteX131" fmla="*/ 208386 w 533723"/>
                  <a:gd name="connsiteY131" fmla="*/ 230868 h 415322"/>
                  <a:gd name="connsiteX132" fmla="*/ 129358 w 533723"/>
                  <a:gd name="connsiteY132" fmla="*/ 256155 h 415322"/>
                  <a:gd name="connsiteX133" fmla="*/ 76481 w 533723"/>
                  <a:gd name="connsiteY133" fmla="*/ 253856 h 415322"/>
                  <a:gd name="connsiteX134" fmla="*/ 56365 w 533723"/>
                  <a:gd name="connsiteY134" fmla="*/ 204718 h 415322"/>
                  <a:gd name="connsiteX135" fmla="*/ 6361 w 533723"/>
                  <a:gd name="connsiteY135" fmla="*/ 145234 h 415322"/>
                  <a:gd name="connsiteX136" fmla="*/ 4924 w 533723"/>
                  <a:gd name="connsiteY136" fmla="*/ 90923 h 415322"/>
                  <a:gd name="connsiteX137" fmla="*/ 26190 w 533723"/>
                  <a:gd name="connsiteY137" fmla="*/ 62762 h 415322"/>
                  <a:gd name="connsiteX138" fmla="*/ 51192 w 533723"/>
                  <a:gd name="connsiteY138" fmla="*/ 63624 h 415322"/>
                  <a:gd name="connsiteX139" fmla="*/ 92574 w 533723"/>
                  <a:gd name="connsiteY139" fmla="*/ 72245 h 415322"/>
                  <a:gd name="connsiteX140" fmla="*/ 148899 w 533723"/>
                  <a:gd name="connsiteY140" fmla="*/ 97533 h 415322"/>
                  <a:gd name="connsiteX141" fmla="*/ 100620 w 533723"/>
                  <a:gd name="connsiteY141" fmla="*/ 70233 h 415322"/>
                  <a:gd name="connsiteX142" fmla="*/ 68722 w 533723"/>
                  <a:gd name="connsiteY142" fmla="*/ 57877 h 415322"/>
                  <a:gd name="connsiteX143" fmla="*/ 95735 w 533723"/>
                  <a:gd name="connsiteY143" fmla="*/ 33739 h 415322"/>
                  <a:gd name="connsiteX144" fmla="*/ 118438 w 533723"/>
                  <a:gd name="connsiteY144" fmla="*/ 6440 h 415322"/>
                  <a:gd name="connsiteX145" fmla="*/ 135290 w 533723"/>
                  <a:gd name="connsiteY145" fmla="*/ 95 h 4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33723" h="415322">
                    <a:moveTo>
                      <a:pt x="528506" y="291832"/>
                    </a:moveTo>
                    <a:cubicBezTo>
                      <a:pt x="528506" y="291832"/>
                      <a:pt x="516154" y="299584"/>
                      <a:pt x="510121" y="300446"/>
                    </a:cubicBezTo>
                    <a:cubicBezTo>
                      <a:pt x="507105" y="300877"/>
                      <a:pt x="504089" y="302097"/>
                      <a:pt x="500354" y="302312"/>
                    </a:cubicBezTo>
                    <a:lnTo>
                      <a:pt x="489695" y="299159"/>
                    </a:lnTo>
                    <a:lnTo>
                      <a:pt x="490953" y="302242"/>
                    </a:lnTo>
                    <a:cubicBezTo>
                      <a:pt x="490911" y="302346"/>
                      <a:pt x="490868" y="302450"/>
                      <a:pt x="490826" y="302554"/>
                    </a:cubicBezTo>
                    <a:lnTo>
                      <a:pt x="497481" y="306188"/>
                    </a:lnTo>
                    <a:cubicBezTo>
                      <a:pt x="502940" y="306475"/>
                      <a:pt x="505812" y="305901"/>
                      <a:pt x="505812" y="305901"/>
                    </a:cubicBezTo>
                    <a:cubicBezTo>
                      <a:pt x="517015" y="304465"/>
                      <a:pt x="521899" y="299010"/>
                      <a:pt x="523335" y="297575"/>
                    </a:cubicBezTo>
                    <a:cubicBezTo>
                      <a:pt x="525059" y="296426"/>
                      <a:pt x="528506" y="291832"/>
                      <a:pt x="528506" y="291832"/>
                    </a:cubicBezTo>
                    <a:close/>
                    <a:moveTo>
                      <a:pt x="459095" y="214354"/>
                    </a:moveTo>
                    <a:lnTo>
                      <a:pt x="470185" y="232917"/>
                    </a:lnTo>
                    <a:lnTo>
                      <a:pt x="469083" y="236710"/>
                    </a:lnTo>
                    <a:lnTo>
                      <a:pt x="465107" y="228628"/>
                    </a:lnTo>
                    <a:cubicBezTo>
                      <a:pt x="464316" y="226985"/>
                      <a:pt x="463551" y="225384"/>
                      <a:pt x="462850" y="223907"/>
                    </a:cubicBezTo>
                    <a:lnTo>
                      <a:pt x="461361" y="220754"/>
                    </a:lnTo>
                    <a:lnTo>
                      <a:pt x="459095" y="214354"/>
                    </a:lnTo>
                    <a:close/>
                    <a:moveTo>
                      <a:pt x="458921" y="213862"/>
                    </a:moveTo>
                    <a:lnTo>
                      <a:pt x="459095" y="214354"/>
                    </a:lnTo>
                    <a:lnTo>
                      <a:pt x="458953" y="214116"/>
                    </a:lnTo>
                    <a:cubicBezTo>
                      <a:pt x="458942" y="214031"/>
                      <a:pt x="458932" y="213947"/>
                      <a:pt x="458921" y="213862"/>
                    </a:cubicBezTo>
                    <a:close/>
                    <a:moveTo>
                      <a:pt x="231642" y="117869"/>
                    </a:moveTo>
                    <a:lnTo>
                      <a:pt x="245739" y="119960"/>
                    </a:lnTo>
                    <a:lnTo>
                      <a:pt x="247479" y="117948"/>
                    </a:lnTo>
                    <a:lnTo>
                      <a:pt x="241439" y="117896"/>
                    </a:lnTo>
                    <a:lnTo>
                      <a:pt x="231642" y="117869"/>
                    </a:lnTo>
                    <a:close/>
                    <a:moveTo>
                      <a:pt x="393966" y="59548"/>
                    </a:moveTo>
                    <a:lnTo>
                      <a:pt x="394760" y="61641"/>
                    </a:lnTo>
                    <a:lnTo>
                      <a:pt x="396543" y="61922"/>
                    </a:lnTo>
                    <a:lnTo>
                      <a:pt x="393966" y="59548"/>
                    </a:lnTo>
                    <a:close/>
                    <a:moveTo>
                      <a:pt x="135290" y="95"/>
                    </a:moveTo>
                    <a:cubicBezTo>
                      <a:pt x="137297" y="-44"/>
                      <a:pt x="139488" y="-26"/>
                      <a:pt x="142002" y="118"/>
                    </a:cubicBezTo>
                    <a:cubicBezTo>
                      <a:pt x="151773" y="692"/>
                      <a:pt x="171890" y="5290"/>
                      <a:pt x="184247" y="9888"/>
                    </a:cubicBezTo>
                    <a:cubicBezTo>
                      <a:pt x="196604" y="14198"/>
                      <a:pt x="225916" y="24831"/>
                      <a:pt x="237411" y="31727"/>
                    </a:cubicBezTo>
                    <a:cubicBezTo>
                      <a:pt x="250056" y="38911"/>
                      <a:pt x="261551" y="43509"/>
                      <a:pt x="273908" y="50693"/>
                    </a:cubicBezTo>
                    <a:cubicBezTo>
                      <a:pt x="280230" y="54285"/>
                      <a:pt x="290576" y="59601"/>
                      <a:pt x="300993" y="65241"/>
                    </a:cubicBezTo>
                    <a:lnTo>
                      <a:pt x="313770" y="72415"/>
                    </a:lnTo>
                    <a:lnTo>
                      <a:pt x="317458" y="74704"/>
                    </a:lnTo>
                    <a:lnTo>
                      <a:pt x="321989" y="77518"/>
                    </a:lnTo>
                    <a:lnTo>
                      <a:pt x="328509" y="81728"/>
                    </a:lnTo>
                    <a:lnTo>
                      <a:pt x="329950" y="82770"/>
                    </a:lnTo>
                    <a:lnTo>
                      <a:pt x="322786" y="67357"/>
                    </a:lnTo>
                    <a:lnTo>
                      <a:pt x="318179" y="66024"/>
                    </a:lnTo>
                    <a:lnTo>
                      <a:pt x="315145" y="65146"/>
                    </a:lnTo>
                    <a:lnTo>
                      <a:pt x="315984" y="64282"/>
                    </a:lnTo>
                    <a:cubicBezTo>
                      <a:pt x="319030" y="61163"/>
                      <a:pt x="328778" y="51321"/>
                      <a:pt x="336115" y="45493"/>
                    </a:cubicBezTo>
                    <a:lnTo>
                      <a:pt x="339135" y="43303"/>
                    </a:lnTo>
                    <a:lnTo>
                      <a:pt x="344556" y="40552"/>
                    </a:lnTo>
                    <a:lnTo>
                      <a:pt x="348957" y="38760"/>
                    </a:lnTo>
                    <a:cubicBezTo>
                      <a:pt x="353552" y="36748"/>
                      <a:pt x="359726" y="34376"/>
                      <a:pt x="368054" y="34807"/>
                    </a:cubicBezTo>
                    <a:cubicBezTo>
                      <a:pt x="372219" y="35023"/>
                      <a:pt x="376921" y="35939"/>
                      <a:pt x="382234" y="37952"/>
                    </a:cubicBezTo>
                    <a:cubicBezTo>
                      <a:pt x="403198" y="46001"/>
                      <a:pt x="390275" y="35652"/>
                      <a:pt x="390275" y="35652"/>
                    </a:cubicBezTo>
                    <a:cubicBezTo>
                      <a:pt x="390275" y="35652"/>
                      <a:pt x="390477" y="35683"/>
                      <a:pt x="390840" y="35749"/>
                    </a:cubicBezTo>
                    <a:lnTo>
                      <a:pt x="391575" y="35894"/>
                    </a:lnTo>
                    <a:lnTo>
                      <a:pt x="391750" y="35955"/>
                    </a:lnTo>
                    <a:cubicBezTo>
                      <a:pt x="392319" y="36184"/>
                      <a:pt x="392615" y="36327"/>
                      <a:pt x="392615" y="36327"/>
                    </a:cubicBezTo>
                    <a:cubicBezTo>
                      <a:pt x="392615" y="36327"/>
                      <a:pt x="392831" y="36305"/>
                      <a:pt x="393242" y="36306"/>
                    </a:cubicBezTo>
                    <a:lnTo>
                      <a:pt x="393406" y="36317"/>
                    </a:lnTo>
                    <a:lnTo>
                      <a:pt x="397383" y="37341"/>
                    </a:lnTo>
                    <a:cubicBezTo>
                      <a:pt x="401260" y="38527"/>
                      <a:pt x="405783" y="40395"/>
                      <a:pt x="408367" y="43126"/>
                    </a:cubicBezTo>
                    <a:cubicBezTo>
                      <a:pt x="413537" y="48875"/>
                      <a:pt x="463219" y="96019"/>
                      <a:pt x="459773" y="126491"/>
                    </a:cubicBezTo>
                    <a:cubicBezTo>
                      <a:pt x="457762" y="144888"/>
                      <a:pt x="440819" y="179671"/>
                      <a:pt x="441680" y="188008"/>
                    </a:cubicBezTo>
                    <a:cubicBezTo>
                      <a:pt x="441860" y="189266"/>
                      <a:pt x="442165" y="190853"/>
                      <a:pt x="442553" y="192637"/>
                    </a:cubicBezTo>
                    <a:lnTo>
                      <a:pt x="443081" y="194875"/>
                    </a:lnTo>
                    <a:lnTo>
                      <a:pt x="451172" y="201092"/>
                    </a:lnTo>
                    <a:lnTo>
                      <a:pt x="458953" y="214116"/>
                    </a:lnTo>
                    <a:cubicBezTo>
                      <a:pt x="459038" y="214798"/>
                      <a:pt x="459124" y="215479"/>
                      <a:pt x="459209" y="216161"/>
                    </a:cubicBezTo>
                    <a:cubicBezTo>
                      <a:pt x="459209" y="216161"/>
                      <a:pt x="459892" y="217634"/>
                      <a:pt x="460971" y="219929"/>
                    </a:cubicBezTo>
                    <a:lnTo>
                      <a:pt x="461361" y="220754"/>
                    </a:lnTo>
                    <a:lnTo>
                      <a:pt x="470303" y="246015"/>
                    </a:lnTo>
                    <a:lnTo>
                      <a:pt x="469962" y="245448"/>
                    </a:lnTo>
                    <a:lnTo>
                      <a:pt x="468971" y="243799"/>
                    </a:lnTo>
                    <a:cubicBezTo>
                      <a:pt x="468971" y="243799"/>
                      <a:pt x="466400" y="241516"/>
                      <a:pt x="464115" y="240660"/>
                    </a:cubicBezTo>
                    <a:cubicBezTo>
                      <a:pt x="461829" y="239518"/>
                      <a:pt x="457544" y="239804"/>
                      <a:pt x="457544" y="239804"/>
                    </a:cubicBezTo>
                    <a:cubicBezTo>
                      <a:pt x="457544" y="239804"/>
                      <a:pt x="461829" y="241516"/>
                      <a:pt x="463829" y="242086"/>
                    </a:cubicBezTo>
                    <a:cubicBezTo>
                      <a:pt x="465329" y="242300"/>
                      <a:pt x="468435" y="244762"/>
                      <a:pt x="469895" y="245979"/>
                    </a:cubicBezTo>
                    <a:lnTo>
                      <a:pt x="470460" y="246460"/>
                    </a:lnTo>
                    <a:lnTo>
                      <a:pt x="485321" y="288443"/>
                    </a:lnTo>
                    <a:lnTo>
                      <a:pt x="485666" y="289289"/>
                    </a:lnTo>
                    <a:cubicBezTo>
                      <a:pt x="485575" y="288111"/>
                      <a:pt x="485483" y="286932"/>
                      <a:pt x="485392" y="285754"/>
                    </a:cubicBezTo>
                    <a:cubicBezTo>
                      <a:pt x="485398" y="285254"/>
                      <a:pt x="485403" y="284754"/>
                      <a:pt x="485409" y="284254"/>
                    </a:cubicBezTo>
                    <a:cubicBezTo>
                      <a:pt x="485457" y="284381"/>
                      <a:pt x="485504" y="284507"/>
                      <a:pt x="485552" y="284634"/>
                    </a:cubicBezTo>
                    <a:lnTo>
                      <a:pt x="487684" y="290297"/>
                    </a:lnTo>
                    <a:cubicBezTo>
                      <a:pt x="487695" y="290325"/>
                      <a:pt x="487705" y="290353"/>
                      <a:pt x="487716" y="290381"/>
                    </a:cubicBezTo>
                    <a:cubicBezTo>
                      <a:pt x="487714" y="290381"/>
                      <a:pt x="487711" y="290382"/>
                      <a:pt x="487709" y="290382"/>
                    </a:cubicBezTo>
                    <a:lnTo>
                      <a:pt x="486150" y="290474"/>
                    </a:lnTo>
                    <a:lnTo>
                      <a:pt x="488742" y="296824"/>
                    </a:lnTo>
                    <a:lnTo>
                      <a:pt x="494320" y="295556"/>
                    </a:lnTo>
                    <a:cubicBezTo>
                      <a:pt x="500644" y="296131"/>
                      <a:pt x="506393" y="294406"/>
                      <a:pt x="512429" y="291820"/>
                    </a:cubicBezTo>
                    <a:cubicBezTo>
                      <a:pt x="515304" y="290526"/>
                      <a:pt x="517172" y="288730"/>
                      <a:pt x="519005" y="287509"/>
                    </a:cubicBezTo>
                    <a:lnTo>
                      <a:pt x="520508" y="286839"/>
                    </a:lnTo>
                    <a:lnTo>
                      <a:pt x="522424" y="286502"/>
                    </a:lnTo>
                    <a:lnTo>
                      <a:pt x="523091" y="286385"/>
                    </a:lnTo>
                    <a:lnTo>
                      <a:pt x="525364" y="286646"/>
                    </a:lnTo>
                    <a:cubicBezTo>
                      <a:pt x="530826" y="288371"/>
                      <a:pt x="531976" y="291532"/>
                      <a:pt x="533413" y="297855"/>
                    </a:cubicBezTo>
                    <a:cubicBezTo>
                      <a:pt x="534850" y="304178"/>
                      <a:pt x="530826" y="316249"/>
                      <a:pt x="530826" y="316249"/>
                    </a:cubicBezTo>
                    <a:cubicBezTo>
                      <a:pt x="530826" y="316249"/>
                      <a:pt x="530763" y="316891"/>
                      <a:pt x="530588" y="318085"/>
                    </a:cubicBezTo>
                    <a:lnTo>
                      <a:pt x="530192" y="320320"/>
                    </a:lnTo>
                    <a:lnTo>
                      <a:pt x="529838" y="321637"/>
                    </a:lnTo>
                    <a:lnTo>
                      <a:pt x="526883" y="332653"/>
                    </a:lnTo>
                    <a:lnTo>
                      <a:pt x="524435" y="341781"/>
                    </a:lnTo>
                    <a:lnTo>
                      <a:pt x="519934" y="353045"/>
                    </a:lnTo>
                    <a:cubicBezTo>
                      <a:pt x="514343" y="365490"/>
                      <a:pt x="505962" y="379622"/>
                      <a:pt x="493458" y="392987"/>
                    </a:cubicBezTo>
                    <a:cubicBezTo>
                      <a:pt x="468666" y="419716"/>
                      <a:pt x="437567" y="410878"/>
                      <a:pt x="421143" y="403455"/>
                    </a:cubicBezTo>
                    <a:lnTo>
                      <a:pt x="416615" y="401105"/>
                    </a:lnTo>
                    <a:cubicBezTo>
                      <a:pt x="416179" y="402174"/>
                      <a:pt x="404207" y="392253"/>
                      <a:pt x="403771" y="393322"/>
                    </a:cubicBezTo>
                    <a:cubicBezTo>
                      <a:pt x="395387" y="401831"/>
                      <a:pt x="388172" y="407234"/>
                      <a:pt x="381629" y="410745"/>
                    </a:cubicBezTo>
                    <a:cubicBezTo>
                      <a:pt x="375086" y="414256"/>
                      <a:pt x="370055" y="416767"/>
                      <a:pt x="364512" y="414388"/>
                    </a:cubicBezTo>
                    <a:lnTo>
                      <a:pt x="362260" y="412847"/>
                    </a:lnTo>
                    <a:lnTo>
                      <a:pt x="359508" y="412530"/>
                    </a:lnTo>
                    <a:lnTo>
                      <a:pt x="354180" y="409493"/>
                    </a:lnTo>
                    <a:lnTo>
                      <a:pt x="351263" y="406931"/>
                    </a:lnTo>
                    <a:lnTo>
                      <a:pt x="351015" y="406713"/>
                    </a:lnTo>
                    <a:lnTo>
                      <a:pt x="348397" y="403432"/>
                    </a:lnTo>
                    <a:lnTo>
                      <a:pt x="347445" y="401927"/>
                    </a:lnTo>
                    <a:lnTo>
                      <a:pt x="345319" y="397536"/>
                    </a:lnTo>
                    <a:cubicBezTo>
                      <a:pt x="344794" y="396166"/>
                      <a:pt x="344561" y="395286"/>
                      <a:pt x="344561" y="395286"/>
                    </a:cubicBezTo>
                    <a:lnTo>
                      <a:pt x="335650" y="375455"/>
                    </a:lnTo>
                    <a:cubicBezTo>
                      <a:pt x="335650" y="375455"/>
                      <a:pt x="327314" y="367408"/>
                      <a:pt x="322714" y="362234"/>
                    </a:cubicBezTo>
                    <a:lnTo>
                      <a:pt x="319648" y="358159"/>
                    </a:lnTo>
                    <a:lnTo>
                      <a:pt x="319434" y="357823"/>
                    </a:lnTo>
                    <a:lnTo>
                      <a:pt x="314734" y="350455"/>
                    </a:lnTo>
                    <a:cubicBezTo>
                      <a:pt x="314734" y="350455"/>
                      <a:pt x="310334" y="332411"/>
                      <a:pt x="319052" y="316733"/>
                    </a:cubicBezTo>
                    <a:lnTo>
                      <a:pt x="323333" y="310656"/>
                    </a:lnTo>
                    <a:lnTo>
                      <a:pt x="320679" y="310837"/>
                    </a:lnTo>
                    <a:cubicBezTo>
                      <a:pt x="319405" y="310763"/>
                      <a:pt x="318170" y="310498"/>
                      <a:pt x="316984" y="309959"/>
                    </a:cubicBezTo>
                    <a:cubicBezTo>
                      <a:pt x="307787" y="305647"/>
                      <a:pt x="281056" y="298172"/>
                      <a:pt x="278469" y="281787"/>
                    </a:cubicBezTo>
                    <a:cubicBezTo>
                      <a:pt x="276529" y="269497"/>
                      <a:pt x="275235" y="243140"/>
                      <a:pt x="279196" y="221148"/>
                    </a:cubicBezTo>
                    <a:lnTo>
                      <a:pt x="281137" y="212759"/>
                    </a:lnTo>
                    <a:lnTo>
                      <a:pt x="280817" y="212855"/>
                    </a:lnTo>
                    <a:lnTo>
                      <a:pt x="280074" y="213019"/>
                    </a:lnTo>
                    <a:cubicBezTo>
                      <a:pt x="269049" y="215467"/>
                      <a:pt x="223976" y="225587"/>
                      <a:pt x="208386" y="230868"/>
                    </a:cubicBezTo>
                    <a:cubicBezTo>
                      <a:pt x="190569" y="236902"/>
                      <a:pt x="148612" y="256155"/>
                      <a:pt x="129358" y="256155"/>
                    </a:cubicBezTo>
                    <a:cubicBezTo>
                      <a:pt x="102632" y="255868"/>
                      <a:pt x="76481" y="253856"/>
                      <a:pt x="76481" y="253856"/>
                    </a:cubicBezTo>
                    <a:cubicBezTo>
                      <a:pt x="76481" y="253856"/>
                      <a:pt x="66710" y="217649"/>
                      <a:pt x="56365" y="204718"/>
                    </a:cubicBezTo>
                    <a:cubicBezTo>
                      <a:pt x="45732" y="191787"/>
                      <a:pt x="12971" y="165062"/>
                      <a:pt x="6361" y="145234"/>
                    </a:cubicBezTo>
                    <a:cubicBezTo>
                      <a:pt x="39" y="125119"/>
                      <a:pt x="-3409" y="109027"/>
                      <a:pt x="4924" y="90923"/>
                    </a:cubicBezTo>
                    <a:cubicBezTo>
                      <a:pt x="12971" y="73107"/>
                      <a:pt x="26190" y="62762"/>
                      <a:pt x="26190" y="62762"/>
                    </a:cubicBezTo>
                    <a:lnTo>
                      <a:pt x="51192" y="63624"/>
                    </a:lnTo>
                    <a:cubicBezTo>
                      <a:pt x="62399" y="65061"/>
                      <a:pt x="80217" y="68222"/>
                      <a:pt x="92574" y="72245"/>
                    </a:cubicBezTo>
                    <a:cubicBezTo>
                      <a:pt x="104644" y="76268"/>
                      <a:pt x="148899" y="97533"/>
                      <a:pt x="148899" y="97533"/>
                    </a:cubicBezTo>
                    <a:lnTo>
                      <a:pt x="100620" y="70233"/>
                    </a:lnTo>
                    <a:lnTo>
                      <a:pt x="68722" y="57877"/>
                    </a:lnTo>
                    <a:cubicBezTo>
                      <a:pt x="68722" y="57877"/>
                      <a:pt x="82803" y="49544"/>
                      <a:pt x="95735" y="33739"/>
                    </a:cubicBezTo>
                    <a:cubicBezTo>
                      <a:pt x="108667" y="17934"/>
                      <a:pt x="109816" y="12187"/>
                      <a:pt x="118438" y="6440"/>
                    </a:cubicBezTo>
                    <a:cubicBezTo>
                      <a:pt x="124904" y="2345"/>
                      <a:pt x="129268" y="513"/>
                      <a:pt x="135290" y="95"/>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sp>
            <p:nvSpPr>
              <p:cNvPr id="8" name="Freeform 7"/>
              <p:cNvSpPr>
                <a:spLocks/>
              </p:cNvSpPr>
              <p:nvPr/>
            </p:nvSpPr>
            <p:spPr bwMode="auto">
              <a:xfrm>
                <a:off x="1203881" y="3576757"/>
                <a:ext cx="290830" cy="297796"/>
              </a:xfrm>
              <a:custGeom>
                <a:avLst/>
                <a:gdLst>
                  <a:gd name="connsiteX0" fmla="*/ 1222186 w 2129049"/>
                  <a:gd name="connsiteY0" fmla="*/ 1839320 h 2180047"/>
                  <a:gd name="connsiteX1" fmla="*/ 1208400 w 2129049"/>
                  <a:gd name="connsiteY1" fmla="*/ 1841119 h 2180047"/>
                  <a:gd name="connsiteX2" fmla="*/ 1186099 w 2129049"/>
                  <a:gd name="connsiteY2" fmla="*/ 1843640 h 2180047"/>
                  <a:gd name="connsiteX3" fmla="*/ 1188379 w 2129049"/>
                  <a:gd name="connsiteY3" fmla="*/ 1844841 h 2180047"/>
                  <a:gd name="connsiteX4" fmla="*/ 1243194 w 2129049"/>
                  <a:gd name="connsiteY4" fmla="*/ 1939957 h 2180047"/>
                  <a:gd name="connsiteX5" fmla="*/ 1223702 w 2129049"/>
                  <a:gd name="connsiteY5" fmla="*/ 1853174 h 2180047"/>
                  <a:gd name="connsiteX6" fmla="*/ 1222569 w 2129049"/>
                  <a:gd name="connsiteY6" fmla="*/ 1839342 h 2180047"/>
                  <a:gd name="connsiteX7" fmla="*/ 441891 w 2129049"/>
                  <a:gd name="connsiteY7" fmla="*/ 1746105 h 2180047"/>
                  <a:gd name="connsiteX8" fmla="*/ 450977 w 2129049"/>
                  <a:gd name="connsiteY8" fmla="*/ 1757606 h 2180047"/>
                  <a:gd name="connsiteX9" fmla="*/ 707370 w 2129049"/>
                  <a:gd name="connsiteY9" fmla="*/ 1976776 h 2180047"/>
                  <a:gd name="connsiteX10" fmla="*/ 766453 w 2129049"/>
                  <a:gd name="connsiteY10" fmla="*/ 2010648 h 2180047"/>
                  <a:gd name="connsiteX11" fmla="*/ 831225 w 2129049"/>
                  <a:gd name="connsiteY11" fmla="*/ 2015356 h 2180047"/>
                  <a:gd name="connsiteX12" fmla="*/ 999836 w 2129049"/>
                  <a:gd name="connsiteY12" fmla="*/ 2014732 h 2180047"/>
                  <a:gd name="connsiteX13" fmla="*/ 1033552 w 2129049"/>
                  <a:gd name="connsiteY13" fmla="*/ 2011934 h 2180047"/>
                  <a:gd name="connsiteX14" fmla="*/ 1030508 w 2129049"/>
                  <a:gd name="connsiteY14" fmla="*/ 1991231 h 2180047"/>
                  <a:gd name="connsiteX15" fmla="*/ 1069280 w 2129049"/>
                  <a:gd name="connsiteY15" fmla="*/ 1869985 h 2180047"/>
                  <a:gd name="connsiteX16" fmla="*/ 1086998 w 2129049"/>
                  <a:gd name="connsiteY16" fmla="*/ 1852207 h 2180047"/>
                  <a:gd name="connsiteX17" fmla="*/ 1040249 w 2129049"/>
                  <a:gd name="connsiteY17" fmla="*/ 1855089 h 2180047"/>
                  <a:gd name="connsiteX18" fmla="*/ 700561 w 2129049"/>
                  <a:gd name="connsiteY18" fmla="*/ 1833012 h 2180047"/>
                  <a:gd name="connsiteX19" fmla="*/ 442094 w 2129049"/>
                  <a:gd name="connsiteY19" fmla="*/ 1746192 h 2180047"/>
                  <a:gd name="connsiteX20" fmla="*/ 1059954 w 2129049"/>
                  <a:gd name="connsiteY20" fmla="*/ 1504433 h 2180047"/>
                  <a:gd name="connsiteX21" fmla="*/ 1137935 w 2129049"/>
                  <a:gd name="connsiteY21" fmla="*/ 1553560 h 2180047"/>
                  <a:gd name="connsiteX22" fmla="*/ 1232714 w 2129049"/>
                  <a:gd name="connsiteY22" fmla="*/ 1597039 h 2180047"/>
                  <a:gd name="connsiteX23" fmla="*/ 1498003 w 2129049"/>
                  <a:gd name="connsiteY23" fmla="*/ 1620193 h 2180047"/>
                  <a:gd name="connsiteX24" fmla="*/ 1417995 w 2129049"/>
                  <a:gd name="connsiteY24" fmla="*/ 1660186 h 2180047"/>
                  <a:gd name="connsiteX25" fmla="*/ 1260085 w 2129049"/>
                  <a:gd name="connsiteY25" fmla="*/ 1660186 h 2180047"/>
                  <a:gd name="connsiteX26" fmla="*/ 1110597 w 2129049"/>
                  <a:gd name="connsiteY26" fmla="*/ 1640189 h 2180047"/>
                  <a:gd name="connsiteX27" fmla="*/ 1099046 w 2129049"/>
                  <a:gd name="connsiteY27" fmla="*/ 1638682 h 2180047"/>
                  <a:gd name="connsiteX28" fmla="*/ 251840 w 2129049"/>
                  <a:gd name="connsiteY28" fmla="*/ 316333 h 2180047"/>
                  <a:gd name="connsiteX29" fmla="*/ 246796 w 2129049"/>
                  <a:gd name="connsiteY29" fmla="*/ 329846 h 2180047"/>
                  <a:gd name="connsiteX30" fmla="*/ 161902 w 2129049"/>
                  <a:gd name="connsiteY30" fmla="*/ 686152 h 2180047"/>
                  <a:gd name="connsiteX31" fmla="*/ 163319 w 2129049"/>
                  <a:gd name="connsiteY31" fmla="*/ 765157 h 2180047"/>
                  <a:gd name="connsiteX32" fmla="*/ 168120 w 2129049"/>
                  <a:gd name="connsiteY32" fmla="*/ 772124 h 2180047"/>
                  <a:gd name="connsiteX33" fmla="*/ 462568 w 2129049"/>
                  <a:gd name="connsiteY33" fmla="*/ 1054574 h 2180047"/>
                  <a:gd name="connsiteX34" fmla="*/ 1083519 w 2129049"/>
                  <a:gd name="connsiteY34" fmla="*/ 1296666 h 2180047"/>
                  <a:gd name="connsiteX35" fmla="*/ 1112988 w 2129049"/>
                  <a:gd name="connsiteY35" fmla="*/ 1212460 h 2180047"/>
                  <a:gd name="connsiteX36" fmla="*/ 635171 w 2129049"/>
                  <a:gd name="connsiteY36" fmla="*/ 913528 h 2180047"/>
                  <a:gd name="connsiteX37" fmla="*/ 256327 w 2129049"/>
                  <a:gd name="connsiteY37" fmla="*/ 344726 h 2180047"/>
                  <a:gd name="connsiteX38" fmla="*/ 203697 w 2129049"/>
                  <a:gd name="connsiteY38" fmla="*/ 216555 h 2180047"/>
                  <a:gd name="connsiteX39" fmla="*/ 195507 w 2129049"/>
                  <a:gd name="connsiteY39" fmla="*/ 224152 h 2180047"/>
                  <a:gd name="connsiteX40" fmla="*/ 153435 w 2129049"/>
                  <a:gd name="connsiteY40" fmla="*/ 280530 h 2180047"/>
                  <a:gd name="connsiteX41" fmla="*/ 119142 w 2129049"/>
                  <a:gd name="connsiteY41" fmla="*/ 338248 h 2180047"/>
                  <a:gd name="connsiteX42" fmla="*/ 162420 w 2129049"/>
                  <a:gd name="connsiteY42" fmla="*/ 270250 h 2180047"/>
                  <a:gd name="connsiteX43" fmla="*/ 200473 w 2129049"/>
                  <a:gd name="connsiteY43" fmla="*/ 220227 h 2180047"/>
                  <a:gd name="connsiteX44" fmla="*/ 545326 w 2129049"/>
                  <a:gd name="connsiteY44" fmla="*/ 37476 h 2180047"/>
                  <a:gd name="connsiteX45" fmla="*/ 541800 w 2129049"/>
                  <a:gd name="connsiteY45" fmla="*/ 40991 h 2180047"/>
                  <a:gd name="connsiteX46" fmla="*/ 536701 w 2129049"/>
                  <a:gd name="connsiteY46" fmla="*/ 46149 h 2180047"/>
                  <a:gd name="connsiteX47" fmla="*/ 940947 w 2129049"/>
                  <a:gd name="connsiteY47" fmla="*/ 939893 h 2180047"/>
                  <a:gd name="connsiteX48" fmla="*/ 978333 w 2129049"/>
                  <a:gd name="connsiteY48" fmla="*/ 993267 h 2180047"/>
                  <a:gd name="connsiteX49" fmla="*/ 1095859 w 2129049"/>
                  <a:gd name="connsiteY49" fmla="*/ 1039243 h 2180047"/>
                  <a:gd name="connsiteX50" fmla="*/ 1131484 w 2129049"/>
                  <a:gd name="connsiteY50" fmla="*/ 1124187 h 2180047"/>
                  <a:gd name="connsiteX51" fmla="*/ 1146506 w 2129049"/>
                  <a:gd name="connsiteY51" fmla="*/ 1133109 h 2180047"/>
                  <a:gd name="connsiteX52" fmla="*/ 1148541 w 2129049"/>
                  <a:gd name="connsiteY52" fmla="*/ 1133748 h 2180047"/>
                  <a:gd name="connsiteX53" fmla="*/ 1141842 w 2129049"/>
                  <a:gd name="connsiteY53" fmla="*/ 1144915 h 2180047"/>
                  <a:gd name="connsiteX54" fmla="*/ 1141505 w 2129049"/>
                  <a:gd name="connsiteY54" fmla="*/ 1145660 h 2180047"/>
                  <a:gd name="connsiteX55" fmla="*/ 1187973 w 2129049"/>
                  <a:gd name="connsiteY55" fmla="*/ 1232630 h 2180047"/>
                  <a:gd name="connsiteX56" fmla="*/ 1289562 w 2129049"/>
                  <a:gd name="connsiteY56" fmla="*/ 1373921 h 2180047"/>
                  <a:gd name="connsiteX57" fmla="*/ 1531690 w 2129049"/>
                  <a:gd name="connsiteY57" fmla="*/ 1481270 h 2180047"/>
                  <a:gd name="connsiteX58" fmla="*/ 1426417 w 2129049"/>
                  <a:gd name="connsiteY58" fmla="*/ 1496004 h 2180047"/>
                  <a:gd name="connsiteX59" fmla="*/ 1194816 w 2129049"/>
                  <a:gd name="connsiteY59" fmla="*/ 1399179 h 2180047"/>
                  <a:gd name="connsiteX60" fmla="*/ 1145436 w 2129049"/>
                  <a:gd name="connsiteY60" fmla="*/ 1340670 h 2180047"/>
                  <a:gd name="connsiteX61" fmla="*/ 1091189 w 2129049"/>
                  <a:gd name="connsiteY61" fmla="*/ 1275923 h 2180047"/>
                  <a:gd name="connsiteX62" fmla="*/ 1064249 w 2129049"/>
                  <a:gd name="connsiteY62" fmla="*/ 1369079 h 2180047"/>
                  <a:gd name="connsiteX63" fmla="*/ 1046007 w 2129049"/>
                  <a:gd name="connsiteY63" fmla="*/ 1483657 h 2180047"/>
                  <a:gd name="connsiteX64" fmla="*/ 1046013 w 2129049"/>
                  <a:gd name="connsiteY64" fmla="*/ 1495461 h 2180047"/>
                  <a:gd name="connsiteX65" fmla="*/ 1012870 w 2129049"/>
                  <a:gd name="connsiteY65" fmla="*/ 1487283 h 2180047"/>
                  <a:gd name="connsiteX66" fmla="*/ 561761 w 2129049"/>
                  <a:gd name="connsiteY66" fmla="*/ 1355377 h 2180047"/>
                  <a:gd name="connsiteX67" fmla="*/ 245802 w 2129049"/>
                  <a:gd name="connsiteY67" fmla="*/ 1165644 h 2180047"/>
                  <a:gd name="connsiteX68" fmla="*/ 203985 w 2129049"/>
                  <a:gd name="connsiteY68" fmla="*/ 1132152 h 2180047"/>
                  <a:gd name="connsiteX69" fmla="*/ 234345 w 2129049"/>
                  <a:gd name="connsiteY69" fmla="*/ 1297625 h 2180047"/>
                  <a:gd name="connsiteX70" fmla="*/ 260418 w 2129049"/>
                  <a:gd name="connsiteY70" fmla="*/ 1401636 h 2180047"/>
                  <a:gd name="connsiteX71" fmla="*/ 276086 w 2129049"/>
                  <a:gd name="connsiteY71" fmla="*/ 1451374 h 2180047"/>
                  <a:gd name="connsiteX72" fmla="*/ 305709 w 2129049"/>
                  <a:gd name="connsiteY72" fmla="*/ 1466895 h 2180047"/>
                  <a:gd name="connsiteX73" fmla="*/ 561761 w 2129049"/>
                  <a:gd name="connsiteY73" fmla="*/ 1572001 h 2180047"/>
                  <a:gd name="connsiteX74" fmla="*/ 1106575 w 2129049"/>
                  <a:gd name="connsiteY74" fmla="*/ 1664539 h 2180047"/>
                  <a:gd name="connsiteX75" fmla="*/ 1106413 w 2129049"/>
                  <a:gd name="connsiteY75" fmla="*/ 1663981 h 2180047"/>
                  <a:gd name="connsiteX76" fmla="*/ 1109394 w 2129049"/>
                  <a:gd name="connsiteY76" fmla="*/ 1669032 h 2180047"/>
                  <a:gd name="connsiteX77" fmla="*/ 1145872 w 2129049"/>
                  <a:gd name="connsiteY77" fmla="*/ 1724864 h 2180047"/>
                  <a:gd name="connsiteX78" fmla="*/ 1151390 w 2129049"/>
                  <a:gd name="connsiteY78" fmla="*/ 1728726 h 2180047"/>
                  <a:gd name="connsiteX79" fmla="*/ 1244657 w 2129049"/>
                  <a:gd name="connsiteY79" fmla="*/ 1793994 h 2180047"/>
                  <a:gd name="connsiteX80" fmla="*/ 1255282 w 2129049"/>
                  <a:gd name="connsiteY80" fmla="*/ 1801430 h 2180047"/>
                  <a:gd name="connsiteX81" fmla="*/ 1259765 w 2129049"/>
                  <a:gd name="connsiteY81" fmla="*/ 1803273 h 2180047"/>
                  <a:gd name="connsiteX82" fmla="*/ 1262425 w 2129049"/>
                  <a:gd name="connsiteY82" fmla="*/ 1805592 h 2180047"/>
                  <a:gd name="connsiteX83" fmla="*/ 1274330 w 2129049"/>
                  <a:gd name="connsiteY83" fmla="*/ 1811179 h 2180047"/>
                  <a:gd name="connsiteX84" fmla="*/ 1470632 w 2129049"/>
                  <a:gd name="connsiteY84" fmla="*/ 1851731 h 2180047"/>
                  <a:gd name="connsiteX85" fmla="*/ 1337987 w 2129049"/>
                  <a:gd name="connsiteY85" fmla="*/ 1879094 h 2180047"/>
                  <a:gd name="connsiteX86" fmla="*/ 1331095 w 2129049"/>
                  <a:gd name="connsiteY86" fmla="*/ 1878426 h 2180047"/>
                  <a:gd name="connsiteX87" fmla="*/ 1337882 w 2129049"/>
                  <a:gd name="connsiteY87" fmla="*/ 1887387 h 2180047"/>
                  <a:gd name="connsiteX88" fmla="*/ 2129049 w 2129049"/>
                  <a:gd name="connsiteY88" fmla="*/ 1929443 h 2180047"/>
                  <a:gd name="connsiteX89" fmla="*/ 1413632 w 2129049"/>
                  <a:gd name="connsiteY89" fmla="*/ 2169166 h 2180047"/>
                  <a:gd name="connsiteX90" fmla="*/ 1301496 w 2129049"/>
                  <a:gd name="connsiteY90" fmla="*/ 2177335 h 2180047"/>
                  <a:gd name="connsiteX91" fmla="*/ 1281595 w 2129049"/>
                  <a:gd name="connsiteY91" fmla="*/ 2175656 h 2180047"/>
                  <a:gd name="connsiteX92" fmla="*/ 1272759 w 2129049"/>
                  <a:gd name="connsiteY92" fmla="*/ 2177928 h 2180047"/>
                  <a:gd name="connsiteX93" fmla="*/ 1063402 w 2129049"/>
                  <a:gd name="connsiteY93" fmla="*/ 2155016 h 2180047"/>
                  <a:gd name="connsiteX94" fmla="*/ 994039 w 2129049"/>
                  <a:gd name="connsiteY94" fmla="*/ 2133739 h 2180047"/>
                  <a:gd name="connsiteX95" fmla="*/ 954380 w 2129049"/>
                  <a:gd name="connsiteY95" fmla="*/ 2125140 h 2180047"/>
                  <a:gd name="connsiteX96" fmla="*/ 485181 w 2129049"/>
                  <a:gd name="connsiteY96" fmla="*/ 1869194 h 2180047"/>
                  <a:gd name="connsiteX97" fmla="*/ 424111 w 2129049"/>
                  <a:gd name="connsiteY97" fmla="*/ 1817746 h 2180047"/>
                  <a:gd name="connsiteX98" fmla="*/ 407264 w 2129049"/>
                  <a:gd name="connsiteY98" fmla="*/ 1804650 h 2180047"/>
                  <a:gd name="connsiteX99" fmla="*/ 400242 w 2129049"/>
                  <a:gd name="connsiteY99" fmla="*/ 1797638 h 2180047"/>
                  <a:gd name="connsiteX100" fmla="*/ 373060 w 2129049"/>
                  <a:gd name="connsiteY100" fmla="*/ 1774739 h 2180047"/>
                  <a:gd name="connsiteX101" fmla="*/ 178723 w 2129049"/>
                  <a:gd name="connsiteY101" fmla="*/ 1546546 h 2180047"/>
                  <a:gd name="connsiteX102" fmla="*/ 0 w 2129049"/>
                  <a:gd name="connsiteY102" fmla="*/ 780817 h 2180047"/>
                  <a:gd name="connsiteX103" fmla="*/ 75177 w 2129049"/>
                  <a:gd name="connsiteY103" fmla="*/ 424975 h 2180047"/>
                  <a:gd name="connsiteX104" fmla="*/ 118668 w 2129049"/>
                  <a:gd name="connsiteY104" fmla="*/ 339046 h 2180047"/>
                  <a:gd name="connsiteX105" fmla="*/ 116953 w 2129049"/>
                  <a:gd name="connsiteY105" fmla="*/ 341932 h 2180047"/>
                  <a:gd name="connsiteX106" fmla="*/ 93993 w 2129049"/>
                  <a:gd name="connsiteY106" fmla="*/ 385485 h 2180047"/>
                  <a:gd name="connsiteX107" fmla="*/ 93509 w 2129049"/>
                  <a:gd name="connsiteY107" fmla="*/ 386464 h 2180047"/>
                  <a:gd name="connsiteX108" fmla="*/ 95671 w 2129049"/>
                  <a:gd name="connsiteY108" fmla="*/ 380966 h 2180047"/>
                  <a:gd name="connsiteX109" fmla="*/ 182624 w 2129049"/>
                  <a:gd name="connsiteY109" fmla="*/ 235436 h 2180047"/>
                  <a:gd name="connsiteX110" fmla="*/ 478385 w 2129049"/>
                  <a:gd name="connsiteY110" fmla="*/ 56179 h 2180047"/>
                  <a:gd name="connsiteX111" fmla="*/ 999928 w 2129049"/>
                  <a:gd name="connsiteY111" fmla="*/ 0 h 2180047"/>
                  <a:gd name="connsiteX112" fmla="*/ 1676449 w 2129049"/>
                  <a:gd name="connsiteY112" fmla="*/ 525838 h 2180047"/>
                  <a:gd name="connsiteX113" fmla="*/ 1579666 w 2129049"/>
                  <a:gd name="connsiteY113" fmla="*/ 999319 h 2180047"/>
                  <a:gd name="connsiteX114" fmla="*/ 1467605 w 2129049"/>
                  <a:gd name="connsiteY114" fmla="*/ 1154947 h 2180047"/>
                  <a:gd name="connsiteX115" fmla="*/ 1464597 w 2129049"/>
                  <a:gd name="connsiteY115" fmla="*/ 1153889 h 2180047"/>
                  <a:gd name="connsiteX116" fmla="*/ 1452025 w 2129049"/>
                  <a:gd name="connsiteY116" fmla="*/ 1125910 h 2180047"/>
                  <a:gd name="connsiteX117" fmla="*/ 1421781 w 2129049"/>
                  <a:gd name="connsiteY117" fmla="*/ 1058603 h 2180047"/>
                  <a:gd name="connsiteX118" fmla="*/ 1327088 w 2129049"/>
                  <a:gd name="connsiteY118" fmla="*/ 961820 h 2180047"/>
                  <a:gd name="connsiteX119" fmla="*/ 1304643 w 2129049"/>
                  <a:gd name="connsiteY119" fmla="*/ 931982 h 2180047"/>
                  <a:gd name="connsiteX120" fmla="*/ 1303076 w 2129049"/>
                  <a:gd name="connsiteY120" fmla="*/ 929526 h 2180047"/>
                  <a:gd name="connsiteX121" fmla="*/ 1268667 w 2129049"/>
                  <a:gd name="connsiteY121" fmla="*/ 875590 h 2180047"/>
                  <a:gd name="connsiteX122" fmla="*/ 1300274 w 2129049"/>
                  <a:gd name="connsiteY122" fmla="*/ 628723 h 2180047"/>
                  <a:gd name="connsiteX123" fmla="*/ 1307563 w 2129049"/>
                  <a:gd name="connsiteY123" fmla="*/ 618378 h 2180047"/>
                  <a:gd name="connsiteX124" fmla="*/ 1298642 w 2129049"/>
                  <a:gd name="connsiteY124" fmla="*/ 596988 h 2180047"/>
                  <a:gd name="connsiteX125" fmla="*/ 1292154 w 2129049"/>
                  <a:gd name="connsiteY125" fmla="*/ 580800 h 2180047"/>
                  <a:gd name="connsiteX126" fmla="*/ 1285141 w 2129049"/>
                  <a:gd name="connsiteY126" fmla="*/ 579133 h 2180047"/>
                  <a:gd name="connsiteX127" fmla="*/ 1003184 w 2129049"/>
                  <a:gd name="connsiteY127" fmla="*/ 372896 h 2180047"/>
                  <a:gd name="connsiteX128" fmla="*/ 993448 w 2129049"/>
                  <a:gd name="connsiteY128" fmla="*/ 53615 h 218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129049" h="2180047">
                    <a:moveTo>
                      <a:pt x="1222186" y="1839320"/>
                    </a:moveTo>
                    <a:cubicBezTo>
                      <a:pt x="1222186" y="1839320"/>
                      <a:pt x="1217322" y="1840010"/>
                      <a:pt x="1208400" y="1841119"/>
                    </a:cubicBezTo>
                    <a:lnTo>
                      <a:pt x="1186099" y="1843640"/>
                    </a:lnTo>
                    <a:lnTo>
                      <a:pt x="1188379" y="1844841"/>
                    </a:lnTo>
                    <a:cubicBezTo>
                      <a:pt x="1208837" y="1862152"/>
                      <a:pt x="1227939" y="1892644"/>
                      <a:pt x="1243194" y="1939957"/>
                    </a:cubicBezTo>
                    <a:cubicBezTo>
                      <a:pt x="1232936" y="1903158"/>
                      <a:pt x="1226723" y="1874737"/>
                      <a:pt x="1223702" y="1853174"/>
                    </a:cubicBezTo>
                    <a:lnTo>
                      <a:pt x="1222569" y="1839342"/>
                    </a:lnTo>
                    <a:close/>
                    <a:moveTo>
                      <a:pt x="441891" y="1746105"/>
                    </a:moveTo>
                    <a:lnTo>
                      <a:pt x="450977" y="1757606"/>
                    </a:lnTo>
                    <a:cubicBezTo>
                      <a:pt x="523579" y="1840277"/>
                      <a:pt x="612111" y="1915885"/>
                      <a:pt x="707370" y="1976776"/>
                    </a:cubicBezTo>
                    <a:lnTo>
                      <a:pt x="766453" y="2010648"/>
                    </a:lnTo>
                    <a:lnTo>
                      <a:pt x="831225" y="2015356"/>
                    </a:lnTo>
                    <a:cubicBezTo>
                      <a:pt x="884464" y="2017808"/>
                      <a:pt x="942877" y="2017788"/>
                      <a:pt x="999836" y="2014732"/>
                    </a:cubicBezTo>
                    <a:lnTo>
                      <a:pt x="1033552" y="2011934"/>
                    </a:lnTo>
                    <a:lnTo>
                      <a:pt x="1030508" y="1991231"/>
                    </a:lnTo>
                    <a:cubicBezTo>
                      <a:pt x="1029673" y="1945751"/>
                      <a:pt x="1045399" y="1901238"/>
                      <a:pt x="1069280" y="1869985"/>
                    </a:cubicBezTo>
                    <a:lnTo>
                      <a:pt x="1086998" y="1852207"/>
                    </a:lnTo>
                    <a:lnTo>
                      <a:pt x="1040249" y="1855089"/>
                    </a:lnTo>
                    <a:cubicBezTo>
                      <a:pt x="936134" y="1859819"/>
                      <a:pt x="805728" y="1858242"/>
                      <a:pt x="700561" y="1833012"/>
                    </a:cubicBezTo>
                    <a:cubicBezTo>
                      <a:pt x="607620" y="1810016"/>
                      <a:pt x="515887" y="1776557"/>
                      <a:pt x="442094" y="1746192"/>
                    </a:cubicBezTo>
                    <a:close/>
                    <a:moveTo>
                      <a:pt x="1059954" y="1504433"/>
                    </a:moveTo>
                    <a:lnTo>
                      <a:pt x="1137935" y="1553560"/>
                    </a:lnTo>
                    <a:cubicBezTo>
                      <a:pt x="1171787" y="1572701"/>
                      <a:pt x="1204817" y="1588620"/>
                      <a:pt x="1232714" y="1597039"/>
                    </a:cubicBezTo>
                    <a:cubicBezTo>
                      <a:pt x="1361148" y="1634927"/>
                      <a:pt x="1457999" y="1643347"/>
                      <a:pt x="1498003" y="1620193"/>
                    </a:cubicBezTo>
                    <a:cubicBezTo>
                      <a:pt x="1498003" y="1620193"/>
                      <a:pt x="1462210" y="1649661"/>
                      <a:pt x="1417995" y="1660186"/>
                    </a:cubicBezTo>
                    <a:cubicBezTo>
                      <a:pt x="1373780" y="1668605"/>
                      <a:pt x="1319038" y="1668605"/>
                      <a:pt x="1260085" y="1660186"/>
                    </a:cubicBezTo>
                    <a:cubicBezTo>
                      <a:pt x="1230609" y="1655976"/>
                      <a:pt x="1166918" y="1647556"/>
                      <a:pt x="1110597" y="1640189"/>
                    </a:cubicBezTo>
                    <a:lnTo>
                      <a:pt x="1099046" y="1638682"/>
                    </a:lnTo>
                    <a:close/>
                    <a:moveTo>
                      <a:pt x="251840" y="316333"/>
                    </a:moveTo>
                    <a:lnTo>
                      <a:pt x="246796" y="329846"/>
                    </a:lnTo>
                    <a:cubicBezTo>
                      <a:pt x="205006" y="446862"/>
                      <a:pt x="162954" y="588333"/>
                      <a:pt x="161902" y="686152"/>
                    </a:cubicBezTo>
                    <a:lnTo>
                      <a:pt x="163319" y="765157"/>
                    </a:lnTo>
                    <a:lnTo>
                      <a:pt x="168120" y="772124"/>
                    </a:lnTo>
                    <a:cubicBezTo>
                      <a:pt x="237177" y="866056"/>
                      <a:pt x="334563" y="972605"/>
                      <a:pt x="462568" y="1054574"/>
                    </a:cubicBezTo>
                    <a:cubicBezTo>
                      <a:pt x="755152" y="1239827"/>
                      <a:pt x="1083519" y="1296666"/>
                      <a:pt x="1083519" y="1296666"/>
                    </a:cubicBezTo>
                    <a:cubicBezTo>
                      <a:pt x="1112988" y="1212460"/>
                      <a:pt x="1112988" y="1212460"/>
                      <a:pt x="1112988" y="1212460"/>
                    </a:cubicBezTo>
                    <a:cubicBezTo>
                      <a:pt x="1112988" y="1212460"/>
                      <a:pt x="1058260" y="1208250"/>
                      <a:pt x="635171" y="913528"/>
                    </a:cubicBezTo>
                    <a:cubicBezTo>
                      <a:pt x="372057" y="730643"/>
                      <a:pt x="286544" y="495129"/>
                      <a:pt x="256327" y="344726"/>
                    </a:cubicBezTo>
                    <a:close/>
                    <a:moveTo>
                      <a:pt x="203697" y="216555"/>
                    </a:moveTo>
                    <a:lnTo>
                      <a:pt x="195507" y="224152"/>
                    </a:lnTo>
                    <a:cubicBezTo>
                      <a:pt x="181433" y="239566"/>
                      <a:pt x="166968" y="259629"/>
                      <a:pt x="153435" y="280530"/>
                    </a:cubicBezTo>
                    <a:lnTo>
                      <a:pt x="119142" y="338248"/>
                    </a:lnTo>
                    <a:lnTo>
                      <a:pt x="162420" y="270250"/>
                    </a:lnTo>
                    <a:cubicBezTo>
                      <a:pt x="176342" y="250442"/>
                      <a:pt x="189335" y="233719"/>
                      <a:pt x="200473" y="220227"/>
                    </a:cubicBezTo>
                    <a:close/>
                    <a:moveTo>
                      <a:pt x="545326" y="37476"/>
                    </a:moveTo>
                    <a:lnTo>
                      <a:pt x="541800" y="40991"/>
                    </a:lnTo>
                    <a:cubicBezTo>
                      <a:pt x="538494" y="44318"/>
                      <a:pt x="536701" y="46149"/>
                      <a:pt x="536701" y="46149"/>
                    </a:cubicBezTo>
                    <a:cubicBezTo>
                      <a:pt x="536701" y="131636"/>
                      <a:pt x="760164" y="665826"/>
                      <a:pt x="940947" y="939893"/>
                    </a:cubicBezTo>
                    <a:lnTo>
                      <a:pt x="978333" y="993267"/>
                    </a:lnTo>
                    <a:lnTo>
                      <a:pt x="1095859" y="1039243"/>
                    </a:lnTo>
                    <a:lnTo>
                      <a:pt x="1131484" y="1124187"/>
                    </a:lnTo>
                    <a:lnTo>
                      <a:pt x="1146506" y="1133109"/>
                    </a:lnTo>
                    <a:lnTo>
                      <a:pt x="1148541" y="1133748"/>
                    </a:lnTo>
                    <a:lnTo>
                      <a:pt x="1141842" y="1144915"/>
                    </a:lnTo>
                    <a:lnTo>
                      <a:pt x="1141505" y="1145660"/>
                    </a:lnTo>
                    <a:lnTo>
                      <a:pt x="1187973" y="1232630"/>
                    </a:lnTo>
                    <a:cubicBezTo>
                      <a:pt x="1223766" y="1293409"/>
                      <a:pt x="1261138" y="1345505"/>
                      <a:pt x="1289562" y="1373921"/>
                    </a:cubicBezTo>
                    <a:cubicBezTo>
                      <a:pt x="1344304" y="1428648"/>
                      <a:pt x="1426417" y="1496004"/>
                      <a:pt x="1531690" y="1481270"/>
                    </a:cubicBezTo>
                    <a:cubicBezTo>
                      <a:pt x="1531690" y="1481270"/>
                      <a:pt x="1476948" y="1504424"/>
                      <a:pt x="1426417" y="1496004"/>
                    </a:cubicBezTo>
                    <a:cubicBezTo>
                      <a:pt x="1377991" y="1485480"/>
                      <a:pt x="1245347" y="1456011"/>
                      <a:pt x="1194816" y="1399179"/>
                    </a:cubicBezTo>
                    <a:cubicBezTo>
                      <a:pt x="1182709" y="1384971"/>
                      <a:pt x="1165076" y="1364054"/>
                      <a:pt x="1145436" y="1340670"/>
                    </a:cubicBezTo>
                    <a:lnTo>
                      <a:pt x="1091189" y="1275923"/>
                    </a:lnTo>
                    <a:lnTo>
                      <a:pt x="1064249" y="1369079"/>
                    </a:lnTo>
                    <a:cubicBezTo>
                      <a:pt x="1054868" y="1409695"/>
                      <a:pt x="1048279" y="1449238"/>
                      <a:pt x="1046007" y="1483657"/>
                    </a:cubicBezTo>
                    <a:lnTo>
                      <a:pt x="1046013" y="1495461"/>
                    </a:lnTo>
                    <a:lnTo>
                      <a:pt x="1012870" y="1487283"/>
                    </a:lnTo>
                    <a:cubicBezTo>
                      <a:pt x="926987" y="1465792"/>
                      <a:pt x="733725" y="1415316"/>
                      <a:pt x="561761" y="1355377"/>
                    </a:cubicBezTo>
                    <a:cubicBezTo>
                      <a:pt x="461449" y="1320412"/>
                      <a:pt x="345032" y="1242374"/>
                      <a:pt x="245802" y="1165644"/>
                    </a:cubicBezTo>
                    <a:lnTo>
                      <a:pt x="203985" y="1132152"/>
                    </a:lnTo>
                    <a:lnTo>
                      <a:pt x="234345" y="1297625"/>
                    </a:lnTo>
                    <a:cubicBezTo>
                      <a:pt x="242410" y="1333469"/>
                      <a:pt x="251108" y="1368352"/>
                      <a:pt x="260418" y="1401636"/>
                    </a:cubicBezTo>
                    <a:lnTo>
                      <a:pt x="276086" y="1451374"/>
                    </a:lnTo>
                    <a:lnTo>
                      <a:pt x="305709" y="1466895"/>
                    </a:lnTo>
                    <a:cubicBezTo>
                      <a:pt x="373741" y="1500727"/>
                      <a:pt x="458919" y="1537496"/>
                      <a:pt x="561761" y="1572001"/>
                    </a:cubicBezTo>
                    <a:cubicBezTo>
                      <a:pt x="875187" y="1675055"/>
                      <a:pt x="1106575" y="1664539"/>
                      <a:pt x="1106575" y="1664539"/>
                    </a:cubicBezTo>
                    <a:lnTo>
                      <a:pt x="1106413" y="1663981"/>
                    </a:lnTo>
                    <a:lnTo>
                      <a:pt x="1109394" y="1669032"/>
                    </a:lnTo>
                    <a:lnTo>
                      <a:pt x="1145872" y="1724864"/>
                    </a:lnTo>
                    <a:lnTo>
                      <a:pt x="1151390" y="1728726"/>
                    </a:lnTo>
                    <a:cubicBezTo>
                      <a:pt x="1204685" y="1766022"/>
                      <a:pt x="1231333" y="1784670"/>
                      <a:pt x="1244657" y="1793994"/>
                    </a:cubicBezTo>
                    <a:lnTo>
                      <a:pt x="1255282" y="1801430"/>
                    </a:lnTo>
                    <a:lnTo>
                      <a:pt x="1259765" y="1803273"/>
                    </a:lnTo>
                    <a:lnTo>
                      <a:pt x="1262425" y="1805592"/>
                    </a:lnTo>
                    <a:lnTo>
                      <a:pt x="1274330" y="1811179"/>
                    </a:lnTo>
                    <a:cubicBezTo>
                      <a:pt x="1306011" y="1825288"/>
                      <a:pt x="1380623" y="1853310"/>
                      <a:pt x="1470632" y="1851731"/>
                    </a:cubicBezTo>
                    <a:cubicBezTo>
                      <a:pt x="1470632" y="1851731"/>
                      <a:pt x="1375886" y="1881199"/>
                      <a:pt x="1337987" y="1879094"/>
                    </a:cubicBezTo>
                    <a:lnTo>
                      <a:pt x="1331095" y="1878426"/>
                    </a:lnTo>
                    <a:lnTo>
                      <a:pt x="1337882" y="1887387"/>
                    </a:lnTo>
                    <a:cubicBezTo>
                      <a:pt x="1419945" y="2013557"/>
                      <a:pt x="2129049" y="1929443"/>
                      <a:pt x="2129049" y="1929443"/>
                    </a:cubicBezTo>
                    <a:cubicBezTo>
                      <a:pt x="2129049" y="1929443"/>
                      <a:pt x="2129049" y="1929443"/>
                      <a:pt x="1413632" y="2169166"/>
                    </a:cubicBezTo>
                    <a:cubicBezTo>
                      <a:pt x="1372338" y="2174818"/>
                      <a:pt x="1335063" y="2177389"/>
                      <a:pt x="1301496" y="2177335"/>
                    </a:cubicBezTo>
                    <a:lnTo>
                      <a:pt x="1281595" y="2175656"/>
                    </a:lnTo>
                    <a:lnTo>
                      <a:pt x="1272759" y="2177928"/>
                    </a:lnTo>
                    <a:cubicBezTo>
                      <a:pt x="1225811" y="2184118"/>
                      <a:pt x="1152027" y="2176826"/>
                      <a:pt x="1063402" y="2155016"/>
                    </a:cubicBezTo>
                    <a:lnTo>
                      <a:pt x="994039" y="2133739"/>
                    </a:lnTo>
                    <a:lnTo>
                      <a:pt x="954380" y="2125140"/>
                    </a:lnTo>
                    <a:cubicBezTo>
                      <a:pt x="795130" y="2082053"/>
                      <a:pt x="625466" y="1978945"/>
                      <a:pt x="485181" y="1869194"/>
                    </a:cubicBezTo>
                    <a:lnTo>
                      <a:pt x="424111" y="1817746"/>
                    </a:lnTo>
                    <a:lnTo>
                      <a:pt x="407264" y="1804650"/>
                    </a:lnTo>
                    <a:lnTo>
                      <a:pt x="400242" y="1797638"/>
                    </a:lnTo>
                    <a:lnTo>
                      <a:pt x="373060" y="1774739"/>
                    </a:lnTo>
                    <a:cubicBezTo>
                      <a:pt x="269990" y="1681147"/>
                      <a:pt x="196858" y="1593878"/>
                      <a:pt x="178723" y="1546546"/>
                    </a:cubicBezTo>
                    <a:cubicBezTo>
                      <a:pt x="92516" y="1378254"/>
                      <a:pt x="0" y="1054291"/>
                      <a:pt x="0" y="780817"/>
                    </a:cubicBezTo>
                    <a:cubicBezTo>
                      <a:pt x="0" y="639609"/>
                      <a:pt x="33412" y="519701"/>
                      <a:pt x="75177" y="424975"/>
                    </a:cubicBezTo>
                    <a:lnTo>
                      <a:pt x="118668" y="339046"/>
                    </a:lnTo>
                    <a:lnTo>
                      <a:pt x="116953" y="341932"/>
                    </a:lnTo>
                    <a:cubicBezTo>
                      <a:pt x="106605" y="360695"/>
                      <a:pt x="98512" y="376484"/>
                      <a:pt x="93993" y="385485"/>
                    </a:cubicBezTo>
                    <a:lnTo>
                      <a:pt x="93509" y="386464"/>
                    </a:lnTo>
                    <a:lnTo>
                      <a:pt x="95671" y="380966"/>
                    </a:lnTo>
                    <a:cubicBezTo>
                      <a:pt x="123713" y="321057"/>
                      <a:pt x="154747" y="273315"/>
                      <a:pt x="182624" y="235436"/>
                    </a:cubicBezTo>
                    <a:cubicBezTo>
                      <a:pt x="241010" y="154155"/>
                      <a:pt x="355019" y="96548"/>
                      <a:pt x="478385" y="56179"/>
                    </a:cubicBezTo>
                    <a:close/>
                    <a:moveTo>
                      <a:pt x="999928" y="0"/>
                    </a:moveTo>
                    <a:lnTo>
                      <a:pt x="1676449" y="525838"/>
                    </a:lnTo>
                    <a:cubicBezTo>
                      <a:pt x="1676449" y="525838"/>
                      <a:pt x="1594394" y="780465"/>
                      <a:pt x="1579666" y="999319"/>
                    </a:cubicBezTo>
                    <a:cubicBezTo>
                      <a:pt x="1570461" y="1136103"/>
                      <a:pt x="1517697" y="1165202"/>
                      <a:pt x="1467605" y="1154947"/>
                    </a:cubicBezTo>
                    <a:lnTo>
                      <a:pt x="1464597" y="1153889"/>
                    </a:lnTo>
                    <a:lnTo>
                      <a:pt x="1452025" y="1125910"/>
                    </a:lnTo>
                    <a:cubicBezTo>
                      <a:pt x="1443951" y="1107940"/>
                      <a:pt x="1434013" y="1085824"/>
                      <a:pt x="1421781" y="1058603"/>
                    </a:cubicBezTo>
                    <a:cubicBezTo>
                      <a:pt x="1421781" y="1058603"/>
                      <a:pt x="1360757" y="999691"/>
                      <a:pt x="1327088" y="961820"/>
                    </a:cubicBezTo>
                    <a:lnTo>
                      <a:pt x="1304643" y="931982"/>
                    </a:lnTo>
                    <a:lnTo>
                      <a:pt x="1303076" y="929526"/>
                    </a:lnTo>
                    <a:cubicBezTo>
                      <a:pt x="1268667" y="875590"/>
                      <a:pt x="1268667" y="875590"/>
                      <a:pt x="1268667" y="875590"/>
                    </a:cubicBezTo>
                    <a:cubicBezTo>
                      <a:pt x="1268667" y="875590"/>
                      <a:pt x="1236457" y="743498"/>
                      <a:pt x="1300274" y="628723"/>
                    </a:cubicBezTo>
                    <a:lnTo>
                      <a:pt x="1307563" y="618378"/>
                    </a:lnTo>
                    <a:lnTo>
                      <a:pt x="1298642" y="596988"/>
                    </a:lnTo>
                    <a:lnTo>
                      <a:pt x="1292154" y="580800"/>
                    </a:lnTo>
                    <a:lnTo>
                      <a:pt x="1285141" y="579133"/>
                    </a:lnTo>
                    <a:cubicBezTo>
                      <a:pt x="1217808" y="547566"/>
                      <a:pt x="1022122" y="492850"/>
                      <a:pt x="1003184" y="372896"/>
                    </a:cubicBezTo>
                    <a:cubicBezTo>
                      <a:pt x="992533" y="305422"/>
                      <a:pt x="984544" y="180018"/>
                      <a:pt x="993448" y="53615"/>
                    </a:cubicBezTo>
                    <a:close/>
                  </a:path>
                </a:pathLst>
              </a:custGeom>
              <a:solidFill>
                <a:srgbClr val="FAED22"/>
              </a:solidFill>
              <a:ln w="3175" cap="flat">
                <a:solidFill>
                  <a:schemeClr val="tx1"/>
                </a:solidFill>
                <a:prstDash val="solid"/>
                <a:miter lim="800000"/>
                <a:headEnd/>
                <a:tailEnd/>
              </a:ln>
            </p:spPr>
            <p:txBody>
              <a:bodyPr vert="horz" wrap="square" lIns="89642" tIns="44821" rIns="89642" bIns="44821" numCol="1" anchor="t" anchorCtr="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000000"/>
                  </a:solidFill>
                  <a:effectLst/>
                  <a:uLnTx/>
                  <a:uFillTx/>
                </a:endParaRPr>
              </a:p>
            </p:txBody>
          </p:sp>
          <p:sp>
            <p:nvSpPr>
              <p:cNvPr id="9" name="Freeform 8"/>
              <p:cNvSpPr>
                <a:spLocks/>
              </p:cNvSpPr>
              <p:nvPr/>
            </p:nvSpPr>
            <p:spPr bwMode="auto">
              <a:xfrm>
                <a:off x="1058398" y="3354141"/>
                <a:ext cx="533724" cy="414349"/>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solidFill>
                <a:srgbClr val="FAED22"/>
              </a:solidFill>
              <a:ln w="3175">
                <a:solidFill>
                  <a:schemeClr val="tx1"/>
                </a:solidFill>
              </a:ln>
            </p:spPr>
            <p:txBody>
              <a:bodyPr vert="horz" wrap="square" lIns="89642" tIns="44821" rIns="89642" bIns="44821" numCol="1" anchor="t" anchorCtr="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000000"/>
                  </a:solidFill>
                  <a:effectLst/>
                  <a:uLnTx/>
                  <a:uFillTx/>
                </a:endParaRPr>
              </a:p>
            </p:txBody>
          </p:sp>
        </p:grpSp>
      </p:grpSp>
    </p:spTree>
    <p:extLst>
      <p:ext uri="{BB962C8B-B14F-4D97-AF65-F5344CB8AC3E}">
        <p14:creationId xmlns:p14="http://schemas.microsoft.com/office/powerpoint/2010/main" val="389679639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Hive architecture</a:t>
            </a:r>
          </a:p>
        </p:txBody>
      </p:sp>
      <p:sp>
        <p:nvSpPr>
          <p:cNvPr id="30" name="Title 2"/>
          <p:cNvSpPr txBox="1">
            <a:spLocks/>
          </p:cNvSpPr>
          <p:nvPr/>
        </p:nvSpPr>
        <p:spPr bwMode="ltGray">
          <a:xfrm>
            <a:off x="274640" y="1570636"/>
            <a:ext cx="4507992" cy="4898441"/>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alpha val="92000"/>
            </a:schemeClr>
          </a:solidFill>
          <a:ln>
            <a:noFill/>
          </a:ln>
          <a:extLst/>
        </p:spPr>
        <p:txBody>
          <a:bodyPr vert="horz" wrap="square" lIns="326473" tIns="886140" rIns="274320" bIns="886140"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342900" marR="0" lvl="0" indent="-342900" algn="l" defTabSz="932742" rtl="0" eaLnBrk="1" fontAlgn="auto" latinLnBrk="0" hangingPunct="1">
              <a:lnSpc>
                <a:spcPct val="90000"/>
              </a:lnSpc>
              <a:spcBef>
                <a:spcPts val="600"/>
              </a:spcBef>
              <a:spcAft>
                <a:spcPts val="600"/>
              </a:spcAft>
              <a:buClrTx/>
              <a:buSzTx/>
              <a:buFont typeface="Arial" panose="020B0604020202020204" pitchFamily="34" charset="0"/>
              <a:buChar char="•"/>
              <a:tabLst/>
              <a:defRPr/>
            </a:pPr>
            <a:r>
              <a:rPr kumimoji="0" lang="en-US" sz="2200" b="0" i="0" u="none" strike="noStrike" kern="0" cap="none" spc="0" normalizeH="0" baseline="0" noProof="0" dirty="0">
                <a:ln w="3175">
                  <a:noFill/>
                </a:ln>
                <a:solidFill>
                  <a:srgbClr val="FFFFFF"/>
                </a:solidFill>
                <a:effectLst/>
                <a:uLnTx/>
                <a:uFillTx/>
                <a:latin typeface="Segoe UI Light"/>
                <a:ea typeface="+mn-ea"/>
                <a:cs typeface="Arial" charset="0"/>
              </a:rPr>
              <a:t>Built on top of Hadoop to provide data management, querying, and analysis</a:t>
            </a:r>
          </a:p>
          <a:p>
            <a:pPr marL="342900" marR="0" lvl="0" indent="-342900" algn="l" defTabSz="932742" rtl="0" eaLnBrk="1" fontAlgn="auto" latinLnBrk="0" hangingPunct="1">
              <a:lnSpc>
                <a:spcPct val="90000"/>
              </a:lnSpc>
              <a:spcBef>
                <a:spcPts val="600"/>
              </a:spcBef>
              <a:spcAft>
                <a:spcPts val="600"/>
              </a:spcAft>
              <a:buClrTx/>
              <a:buSzTx/>
              <a:buFont typeface="Arial" panose="020B0604020202020204" pitchFamily="34" charset="0"/>
              <a:buChar char="•"/>
              <a:tabLst/>
              <a:defRPr/>
            </a:pPr>
            <a:r>
              <a:rPr kumimoji="0" lang="en-US" sz="2200" b="0" i="0" u="none" strike="noStrike" kern="0" cap="none" spc="0" normalizeH="0" baseline="0" noProof="0" dirty="0">
                <a:ln w="3175">
                  <a:noFill/>
                </a:ln>
                <a:solidFill>
                  <a:srgbClr val="FFFFFF"/>
                </a:solidFill>
                <a:effectLst/>
                <a:uLnTx/>
                <a:uFillTx/>
                <a:latin typeface="Segoe UI Light"/>
                <a:ea typeface="+mn-ea"/>
                <a:cs typeface="Arial" charset="0"/>
              </a:rPr>
              <a:t>Access and query data through simple SQL-like statements, called </a:t>
            </a:r>
            <a:r>
              <a:rPr kumimoji="0" lang="en-US" sz="2200" b="1" i="0" u="none" strike="noStrike" kern="0" cap="none" spc="0" normalizeH="0" baseline="0" noProof="0" dirty="0">
                <a:ln w="3175">
                  <a:noFill/>
                </a:ln>
                <a:solidFill>
                  <a:srgbClr val="FFFFFF"/>
                </a:solidFill>
                <a:effectLst/>
                <a:uLnTx/>
                <a:uFillTx/>
                <a:latin typeface="Segoe UI Light"/>
                <a:ea typeface="+mn-ea"/>
                <a:cs typeface="Arial" charset="0"/>
              </a:rPr>
              <a:t>Hive queries</a:t>
            </a:r>
          </a:p>
          <a:p>
            <a:pPr marL="342900" marR="0" lvl="0" indent="-342900" algn="l" defTabSz="932742" rtl="0" eaLnBrk="1" fontAlgn="auto" latinLnBrk="0" hangingPunct="1">
              <a:lnSpc>
                <a:spcPct val="90000"/>
              </a:lnSpc>
              <a:spcBef>
                <a:spcPts val="600"/>
              </a:spcBef>
              <a:spcAft>
                <a:spcPts val="600"/>
              </a:spcAft>
              <a:buClrTx/>
              <a:buSzTx/>
              <a:buFont typeface="Arial" panose="020B0604020202020204" pitchFamily="34" charset="0"/>
              <a:buChar char="•"/>
              <a:tabLst/>
              <a:defRPr/>
            </a:pPr>
            <a:r>
              <a:rPr kumimoji="0" lang="en-US" sz="2200" b="0" i="0" u="none" strike="noStrike" kern="0" cap="none" spc="0" normalizeH="0" baseline="0" noProof="0" dirty="0">
                <a:ln w="3175">
                  <a:noFill/>
                </a:ln>
                <a:solidFill>
                  <a:srgbClr val="FFFFFF"/>
                </a:solidFill>
                <a:effectLst/>
                <a:uLnTx/>
                <a:uFillTx/>
                <a:latin typeface="Segoe UI Light"/>
                <a:ea typeface="+mn-ea"/>
                <a:cs typeface="Arial" charset="0"/>
              </a:rPr>
              <a:t>In short, Hive compiles, Hadoop executes</a:t>
            </a:r>
          </a:p>
        </p:txBody>
      </p:sp>
      <p:sp>
        <p:nvSpPr>
          <p:cNvPr id="28" name="Content Placeholder 7"/>
          <p:cNvSpPr txBox="1">
            <a:spLocks/>
          </p:cNvSpPr>
          <p:nvPr/>
        </p:nvSpPr>
        <p:spPr bwMode="auto">
          <a:xfrm>
            <a:off x="5989637" y="4008835"/>
            <a:ext cx="5890634" cy="2030471"/>
          </a:xfrm>
          <a:prstGeom prst="rect">
            <a:avLst/>
          </a:prstGeom>
          <a:no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49702" tIns="99402" rIns="49702" bIns="41768"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32742"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2400" b="0" i="0" u="none" strike="noStrike" kern="1200" cap="none" spc="0" normalizeH="0" baseline="0" noProof="0" dirty="0">
                <a:ln>
                  <a:solidFill>
                    <a:srgbClr val="FFFFFF">
                      <a:alpha val="0"/>
                    </a:srgbClr>
                  </a:solidFill>
                </a:ln>
                <a:solidFill>
                  <a:srgbClr val="505050"/>
                </a:solidFill>
                <a:effectLst/>
                <a:uLnTx/>
                <a:uFillTx/>
                <a:latin typeface="Segoe UI"/>
                <a:ea typeface="+mn-ea"/>
                <a:cs typeface="+mn-cs"/>
              </a:rPr>
              <a:t>Hadoop</a:t>
            </a:r>
          </a:p>
        </p:txBody>
      </p:sp>
      <p:sp>
        <p:nvSpPr>
          <p:cNvPr id="29" name="Rectangle 28"/>
          <p:cNvSpPr/>
          <p:nvPr/>
        </p:nvSpPr>
        <p:spPr bwMode="auto">
          <a:xfrm>
            <a:off x="7447068" y="4306551"/>
            <a:ext cx="1111493" cy="848420"/>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Head node</a:t>
            </a:r>
          </a:p>
        </p:txBody>
      </p:sp>
      <p:sp>
        <p:nvSpPr>
          <p:cNvPr id="31" name="Rectangle 30"/>
          <p:cNvSpPr/>
          <p:nvPr/>
        </p:nvSpPr>
        <p:spPr bwMode="auto">
          <a:xfrm>
            <a:off x="8677323" y="4306550"/>
            <a:ext cx="1198514" cy="848420"/>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Name node</a:t>
            </a:r>
          </a:p>
        </p:txBody>
      </p:sp>
      <p:sp>
        <p:nvSpPr>
          <p:cNvPr id="32" name="Rectangle 31"/>
          <p:cNvSpPr/>
          <p:nvPr/>
        </p:nvSpPr>
        <p:spPr bwMode="auto">
          <a:xfrm>
            <a:off x="7447069" y="5235854"/>
            <a:ext cx="2428768" cy="848420"/>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ctr"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Data nodes/task nodes</a:t>
            </a:r>
          </a:p>
        </p:txBody>
      </p:sp>
      <p:pic>
        <p:nvPicPr>
          <p:cNvPr id="33" name="Picture 2" descr="\\MAGNUM\Projects\Microsoft\Cloud Power FY12\Design\Icons\PNGs\Cloud_on_your_terms.png"/>
          <p:cNvPicPr>
            <a:picLocks noChangeAspect="1" noChangeArrowheads="1"/>
          </p:cNvPicPr>
          <p:nvPr/>
        </p:nvPicPr>
        <p:blipFill>
          <a:blip r:embed="rId3" cstate="print">
            <a:lum bright="100000"/>
          </a:blip>
          <a:stretch>
            <a:fillRect/>
          </a:stretch>
        </p:blipFill>
        <p:spPr bwMode="auto">
          <a:xfrm>
            <a:off x="8303133" y="5135296"/>
            <a:ext cx="758792" cy="758792"/>
          </a:xfrm>
          <a:prstGeom prst="rect">
            <a:avLst/>
          </a:prstGeom>
          <a:noFill/>
          <a:ln>
            <a:noFill/>
          </a:ln>
        </p:spPr>
      </p:pic>
      <p:pic>
        <p:nvPicPr>
          <p:cNvPr id="35" name="Picture 2"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7610601" y="4276988"/>
            <a:ext cx="688792" cy="688792"/>
          </a:xfrm>
          <a:prstGeom prst="rect">
            <a:avLst/>
          </a:prstGeom>
          <a:noFill/>
        </p:spPr>
      </p:pic>
      <p:pic>
        <p:nvPicPr>
          <p:cNvPr id="37" name="Picture 2"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8942092" y="4313656"/>
            <a:ext cx="688792" cy="688792"/>
          </a:xfrm>
          <a:prstGeom prst="rect">
            <a:avLst/>
          </a:prstGeom>
          <a:noFill/>
        </p:spPr>
      </p:pic>
      <p:sp>
        <p:nvSpPr>
          <p:cNvPr id="68" name="Content Placeholder 7"/>
          <p:cNvSpPr txBox="1">
            <a:spLocks/>
          </p:cNvSpPr>
          <p:nvPr/>
        </p:nvSpPr>
        <p:spPr bwMode="auto">
          <a:xfrm>
            <a:off x="5989637" y="2355658"/>
            <a:ext cx="5890634" cy="1575581"/>
          </a:xfrm>
          <a:prstGeom prst="rect">
            <a:avLst/>
          </a:prstGeom>
          <a:no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49702" tIns="99402" rIns="49702" bIns="41768"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32742"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2400" b="0" i="0" u="none" strike="noStrike" kern="1200" cap="none" spc="0" normalizeH="0" baseline="0" noProof="0" dirty="0">
                <a:ln>
                  <a:solidFill>
                    <a:srgbClr val="FFFFFF">
                      <a:alpha val="0"/>
                    </a:srgbClr>
                  </a:solidFill>
                </a:ln>
                <a:solidFill>
                  <a:srgbClr val="505050"/>
                </a:solidFill>
                <a:effectLst/>
                <a:uLnTx/>
                <a:uFillTx/>
                <a:latin typeface="Segoe UI"/>
                <a:ea typeface="+mn-ea"/>
                <a:cs typeface="+mn-cs"/>
              </a:rPr>
              <a:t>Hive</a:t>
            </a:r>
          </a:p>
        </p:txBody>
      </p:sp>
      <p:sp>
        <p:nvSpPr>
          <p:cNvPr id="70" name="Rectangle 69"/>
          <p:cNvSpPr/>
          <p:nvPr/>
        </p:nvSpPr>
        <p:spPr bwMode="auto">
          <a:xfrm>
            <a:off x="7738319" y="2274774"/>
            <a:ext cx="695874" cy="726289"/>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JDBC</a:t>
            </a:r>
          </a:p>
        </p:txBody>
      </p:sp>
      <p:sp>
        <p:nvSpPr>
          <p:cNvPr id="71" name="Rectangle 70"/>
          <p:cNvSpPr/>
          <p:nvPr/>
        </p:nvSpPr>
        <p:spPr bwMode="auto">
          <a:xfrm>
            <a:off x="7011331" y="2274775"/>
            <a:ext cx="687952" cy="726289"/>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ODBC</a:t>
            </a:r>
          </a:p>
        </p:txBody>
      </p:sp>
      <p:sp>
        <p:nvSpPr>
          <p:cNvPr id="72" name="Rectangle 71"/>
          <p:cNvSpPr/>
          <p:nvPr/>
        </p:nvSpPr>
        <p:spPr bwMode="auto">
          <a:xfrm>
            <a:off x="8499769" y="2264741"/>
            <a:ext cx="967712" cy="1102707"/>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Hive web interface (HWI)</a:t>
            </a:r>
          </a:p>
        </p:txBody>
      </p:sp>
      <p:sp>
        <p:nvSpPr>
          <p:cNvPr id="73" name="Rectangle 72"/>
          <p:cNvSpPr/>
          <p:nvPr/>
        </p:nvSpPr>
        <p:spPr bwMode="auto">
          <a:xfrm>
            <a:off x="10654932" y="2278062"/>
            <a:ext cx="1103668" cy="1505180"/>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Metastore</a:t>
            </a:r>
          </a:p>
        </p:txBody>
      </p:sp>
      <p:sp>
        <p:nvSpPr>
          <p:cNvPr id="74" name="Rectangle 73"/>
          <p:cNvSpPr/>
          <p:nvPr/>
        </p:nvSpPr>
        <p:spPr bwMode="auto">
          <a:xfrm>
            <a:off x="7002240" y="3055533"/>
            <a:ext cx="1431953" cy="311915"/>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Thrift server</a:t>
            </a:r>
          </a:p>
        </p:txBody>
      </p:sp>
      <p:sp>
        <p:nvSpPr>
          <p:cNvPr id="75" name="Rectangle 74"/>
          <p:cNvSpPr/>
          <p:nvPr/>
        </p:nvSpPr>
        <p:spPr bwMode="auto">
          <a:xfrm>
            <a:off x="9506517" y="2264741"/>
            <a:ext cx="1002721" cy="1102707"/>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Command line interface (CLI)</a:t>
            </a:r>
          </a:p>
        </p:txBody>
      </p:sp>
      <p:sp>
        <p:nvSpPr>
          <p:cNvPr id="76" name="Rectangle 75"/>
          <p:cNvSpPr/>
          <p:nvPr/>
        </p:nvSpPr>
        <p:spPr bwMode="auto">
          <a:xfrm>
            <a:off x="7005615" y="3421918"/>
            <a:ext cx="3527646" cy="361324"/>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Compiler, Optimizer, Executor</a:t>
            </a:r>
          </a:p>
        </p:txBody>
      </p:sp>
      <p:pic>
        <p:nvPicPr>
          <p:cNvPr id="79" name="Picture 2" descr="C:\Users\mitchellg\Desktop\Automated_2.png"/>
          <p:cNvPicPr>
            <a:picLocks noChangeAspect="1" noChangeArrowheads="1"/>
          </p:cNvPicPr>
          <p:nvPr/>
        </p:nvPicPr>
        <p:blipFill>
          <a:blip r:embed="rId5" cstate="print">
            <a:duotone>
              <a:prstClr val="black"/>
              <a:schemeClr val="accent1">
                <a:tint val="45000"/>
                <a:satMod val="400000"/>
              </a:schemeClr>
            </a:duotone>
          </a:blip>
          <a:srcRect/>
          <a:stretch>
            <a:fillRect/>
          </a:stretch>
        </p:blipFill>
        <p:spPr bwMode="auto">
          <a:xfrm>
            <a:off x="8204742" y="3618437"/>
            <a:ext cx="810769" cy="810769"/>
          </a:xfrm>
          <a:prstGeom prst="rect">
            <a:avLst/>
          </a:prstGeom>
          <a:noFill/>
        </p:spPr>
      </p:pic>
      <p:grpSp>
        <p:nvGrpSpPr>
          <p:cNvPr id="20" name="Group 19"/>
          <p:cNvGrpSpPr/>
          <p:nvPr/>
        </p:nvGrpSpPr>
        <p:grpSpPr>
          <a:xfrm>
            <a:off x="5738588" y="636515"/>
            <a:ext cx="1405986" cy="1369205"/>
            <a:chOff x="306837" y="2966952"/>
            <a:chExt cx="1385600" cy="1352860"/>
          </a:xfrm>
        </p:grpSpPr>
        <p:sp>
          <p:nvSpPr>
            <p:cNvPr id="21" name="Freeform 20"/>
            <p:cNvSpPr/>
            <p:nvPr/>
          </p:nvSpPr>
          <p:spPr bwMode="auto">
            <a:xfrm>
              <a:off x="688501" y="3519487"/>
              <a:ext cx="752155" cy="800325"/>
            </a:xfrm>
            <a:custGeom>
              <a:avLst/>
              <a:gdLst>
                <a:gd name="connsiteX0" fmla="*/ 338138 w 728663"/>
                <a:gd name="connsiteY0" fmla="*/ 0 h 823912"/>
                <a:gd name="connsiteX1" fmla="*/ 73819 w 728663"/>
                <a:gd name="connsiteY1" fmla="*/ 97631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35719 w 728663"/>
                <a:gd name="connsiteY1" fmla="*/ 73819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21470 w 711995"/>
                <a:gd name="connsiteY0" fmla="*/ 0 h 823912"/>
                <a:gd name="connsiteX1" fmla="*/ 80963 w 711995"/>
                <a:gd name="connsiteY1" fmla="*/ 66675 h 823912"/>
                <a:gd name="connsiteX2" fmla="*/ 0 w 711995"/>
                <a:gd name="connsiteY2" fmla="*/ 497681 h 823912"/>
                <a:gd name="connsiteX3" fmla="*/ 450057 w 711995"/>
                <a:gd name="connsiteY3" fmla="*/ 823912 h 823912"/>
                <a:gd name="connsiteX4" fmla="*/ 711995 w 711995"/>
                <a:gd name="connsiteY4" fmla="*/ 733425 h 823912"/>
                <a:gd name="connsiteX5" fmla="*/ 476251 w 711995"/>
                <a:gd name="connsiteY5" fmla="*/ 707231 h 823912"/>
                <a:gd name="connsiteX6" fmla="*/ 495301 w 711995"/>
                <a:gd name="connsiteY6" fmla="*/ 621506 h 823912"/>
                <a:gd name="connsiteX7" fmla="*/ 497682 w 711995"/>
                <a:gd name="connsiteY7" fmla="*/ 571500 h 823912"/>
                <a:gd name="connsiteX8" fmla="*/ 350045 w 711995"/>
                <a:gd name="connsiteY8" fmla="*/ 423862 h 823912"/>
                <a:gd name="connsiteX9" fmla="*/ 521495 w 711995"/>
                <a:gd name="connsiteY9" fmla="*/ 528637 h 823912"/>
                <a:gd name="connsiteX10" fmla="*/ 521495 w 711995"/>
                <a:gd name="connsiteY10" fmla="*/ 302418 h 823912"/>
                <a:gd name="connsiteX11" fmla="*/ 357189 w 711995"/>
                <a:gd name="connsiteY11" fmla="*/ 54768 h 823912"/>
                <a:gd name="connsiteX12" fmla="*/ 321470 w 711995"/>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795337"/>
                <a:gd name="connsiteX1" fmla="*/ 106836 w 737868"/>
                <a:gd name="connsiteY1" fmla="*/ 66675 h 795337"/>
                <a:gd name="connsiteX2" fmla="*/ 25873 w 737868"/>
                <a:gd name="connsiteY2" fmla="*/ 497681 h 795337"/>
                <a:gd name="connsiteX3" fmla="*/ 487836 w 737868"/>
                <a:gd name="connsiteY3" fmla="*/ 795337 h 795337"/>
                <a:gd name="connsiteX4" fmla="*/ 737868 w 737868"/>
                <a:gd name="connsiteY4" fmla="*/ 733425 h 795337"/>
                <a:gd name="connsiteX5" fmla="*/ 502124 w 737868"/>
                <a:gd name="connsiteY5" fmla="*/ 707231 h 795337"/>
                <a:gd name="connsiteX6" fmla="*/ 521174 w 737868"/>
                <a:gd name="connsiteY6" fmla="*/ 621506 h 795337"/>
                <a:gd name="connsiteX7" fmla="*/ 523555 w 737868"/>
                <a:gd name="connsiteY7" fmla="*/ 571500 h 795337"/>
                <a:gd name="connsiteX8" fmla="*/ 375918 w 737868"/>
                <a:gd name="connsiteY8" fmla="*/ 423862 h 795337"/>
                <a:gd name="connsiteX9" fmla="*/ 547368 w 737868"/>
                <a:gd name="connsiteY9" fmla="*/ 528637 h 795337"/>
                <a:gd name="connsiteX10" fmla="*/ 547368 w 737868"/>
                <a:gd name="connsiteY10" fmla="*/ 302418 h 795337"/>
                <a:gd name="connsiteX11" fmla="*/ 383062 w 737868"/>
                <a:gd name="connsiteY11" fmla="*/ 54768 h 795337"/>
                <a:gd name="connsiteX12" fmla="*/ 347343 w 737868"/>
                <a:gd name="connsiteY12" fmla="*/ 0 h 795337"/>
                <a:gd name="connsiteX0" fmla="*/ 347343 w 737868"/>
                <a:gd name="connsiteY0" fmla="*/ 0 h 800325"/>
                <a:gd name="connsiteX1" fmla="*/ 106836 w 737868"/>
                <a:gd name="connsiteY1" fmla="*/ 66675 h 800325"/>
                <a:gd name="connsiteX2" fmla="*/ 25873 w 737868"/>
                <a:gd name="connsiteY2" fmla="*/ 497681 h 800325"/>
                <a:gd name="connsiteX3" fmla="*/ 487836 w 737868"/>
                <a:gd name="connsiteY3" fmla="*/ 795337 h 800325"/>
                <a:gd name="connsiteX4" fmla="*/ 737868 w 737868"/>
                <a:gd name="connsiteY4" fmla="*/ 733425 h 800325"/>
                <a:gd name="connsiteX5" fmla="*/ 502124 w 737868"/>
                <a:gd name="connsiteY5" fmla="*/ 707231 h 800325"/>
                <a:gd name="connsiteX6" fmla="*/ 521174 w 737868"/>
                <a:gd name="connsiteY6" fmla="*/ 621506 h 800325"/>
                <a:gd name="connsiteX7" fmla="*/ 523555 w 737868"/>
                <a:gd name="connsiteY7" fmla="*/ 571500 h 800325"/>
                <a:gd name="connsiteX8" fmla="*/ 375918 w 737868"/>
                <a:gd name="connsiteY8" fmla="*/ 423862 h 800325"/>
                <a:gd name="connsiteX9" fmla="*/ 547368 w 737868"/>
                <a:gd name="connsiteY9" fmla="*/ 528637 h 800325"/>
                <a:gd name="connsiteX10" fmla="*/ 547368 w 737868"/>
                <a:gd name="connsiteY10" fmla="*/ 302418 h 800325"/>
                <a:gd name="connsiteX11" fmla="*/ 383062 w 737868"/>
                <a:gd name="connsiteY11" fmla="*/ 54768 h 800325"/>
                <a:gd name="connsiteX12" fmla="*/ 347343 w 737868"/>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502124 w 752155"/>
                <a:gd name="connsiteY5" fmla="*/ 707231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11649 w 752155"/>
                <a:gd name="connsiteY6" fmla="*/ 666751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8318 w 752155"/>
                <a:gd name="connsiteY7" fmla="*/ 642938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47368 w 752155"/>
                <a:gd name="connsiteY9" fmla="*/ 545306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37843 w 752155"/>
                <a:gd name="connsiteY9" fmla="*/ 578644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447355 w 752155"/>
                <a:gd name="connsiteY10" fmla="*/ 552451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33080 w 752155"/>
                <a:gd name="connsiteY13" fmla="*/ 435768 h 800325"/>
                <a:gd name="connsiteX14" fmla="*/ 547368 w 752155"/>
                <a:gd name="connsiteY14" fmla="*/ 302418 h 800325"/>
                <a:gd name="connsiteX15" fmla="*/ 383062 w 752155"/>
                <a:gd name="connsiteY15" fmla="*/ 54768 h 800325"/>
                <a:gd name="connsiteX16" fmla="*/ 347343 w 752155"/>
                <a:gd name="connsiteY16" fmla="*/ 0 h 80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52155" h="800325">
                  <a:moveTo>
                    <a:pt x="347343" y="0"/>
                  </a:moveTo>
                  <a:cubicBezTo>
                    <a:pt x="267174" y="22225"/>
                    <a:pt x="165574" y="11112"/>
                    <a:pt x="106836" y="66675"/>
                  </a:cubicBezTo>
                  <a:cubicBezTo>
                    <a:pt x="-11433" y="199230"/>
                    <a:pt x="-20164" y="298450"/>
                    <a:pt x="25873" y="497681"/>
                  </a:cubicBezTo>
                  <a:cubicBezTo>
                    <a:pt x="106835" y="742156"/>
                    <a:pt x="421161" y="822324"/>
                    <a:pt x="487836" y="795337"/>
                  </a:cubicBezTo>
                  <a:lnTo>
                    <a:pt x="752155" y="709613"/>
                  </a:lnTo>
                  <a:cubicBezTo>
                    <a:pt x="660079" y="719138"/>
                    <a:pt x="534668" y="731044"/>
                    <a:pt x="464024" y="695325"/>
                  </a:cubicBezTo>
                  <a:cubicBezTo>
                    <a:pt x="423940" y="688181"/>
                    <a:pt x="518793" y="698103"/>
                    <a:pt x="528318" y="685800"/>
                  </a:cubicBezTo>
                  <a:cubicBezTo>
                    <a:pt x="539034" y="677069"/>
                    <a:pt x="431878" y="688975"/>
                    <a:pt x="387824" y="614363"/>
                  </a:cubicBezTo>
                  <a:cubicBezTo>
                    <a:pt x="469976" y="611188"/>
                    <a:pt x="524349" y="619123"/>
                    <a:pt x="523555" y="607217"/>
                  </a:cubicBezTo>
                  <a:cubicBezTo>
                    <a:pt x="474343" y="604837"/>
                    <a:pt x="408461" y="600074"/>
                    <a:pt x="366392" y="557212"/>
                  </a:cubicBezTo>
                  <a:lnTo>
                    <a:pt x="383061" y="483395"/>
                  </a:lnTo>
                  <a:cubicBezTo>
                    <a:pt x="425923" y="532607"/>
                    <a:pt x="473550" y="553243"/>
                    <a:pt x="533080" y="559594"/>
                  </a:cubicBezTo>
                  <a:cubicBezTo>
                    <a:pt x="466405" y="540544"/>
                    <a:pt x="418779" y="488155"/>
                    <a:pt x="399730" y="428624"/>
                  </a:cubicBezTo>
                  <a:lnTo>
                    <a:pt x="533080" y="435768"/>
                  </a:lnTo>
                  <a:lnTo>
                    <a:pt x="547368" y="302418"/>
                  </a:lnTo>
                  <a:lnTo>
                    <a:pt x="383062" y="54768"/>
                  </a:lnTo>
                  <a:lnTo>
                    <a:pt x="347343"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grpSp>
          <p:nvGrpSpPr>
            <p:cNvPr id="22" name="Group 21"/>
            <p:cNvGrpSpPr/>
            <p:nvPr/>
          </p:nvGrpSpPr>
          <p:grpSpPr>
            <a:xfrm>
              <a:off x="306837" y="2966952"/>
              <a:ext cx="1385600" cy="1351044"/>
              <a:chOff x="1058398" y="3354141"/>
              <a:chExt cx="533724" cy="520412"/>
            </a:xfrm>
          </p:grpSpPr>
          <p:sp>
            <p:nvSpPr>
              <p:cNvPr id="23" name="Freeform 22"/>
              <p:cNvSpPr/>
              <p:nvPr/>
            </p:nvSpPr>
            <p:spPr bwMode="auto">
              <a:xfrm>
                <a:off x="1058398" y="3354142"/>
                <a:ext cx="533723" cy="415322"/>
              </a:xfrm>
              <a:custGeom>
                <a:avLst/>
                <a:gdLst>
                  <a:gd name="connsiteX0" fmla="*/ 528506 w 533723"/>
                  <a:gd name="connsiteY0" fmla="*/ 291832 h 418083"/>
                  <a:gd name="connsiteX1" fmla="*/ 510121 w 533723"/>
                  <a:gd name="connsiteY1" fmla="*/ 300446 h 418083"/>
                  <a:gd name="connsiteX2" fmla="*/ 500354 w 533723"/>
                  <a:gd name="connsiteY2" fmla="*/ 302312 h 418083"/>
                  <a:gd name="connsiteX3" fmla="*/ 489695 w 533723"/>
                  <a:gd name="connsiteY3" fmla="*/ 299159 h 418083"/>
                  <a:gd name="connsiteX4" fmla="*/ 490953 w 533723"/>
                  <a:gd name="connsiteY4" fmla="*/ 302242 h 418083"/>
                  <a:gd name="connsiteX5" fmla="*/ 490826 w 533723"/>
                  <a:gd name="connsiteY5" fmla="*/ 302554 h 418083"/>
                  <a:gd name="connsiteX6" fmla="*/ 497481 w 533723"/>
                  <a:gd name="connsiteY6" fmla="*/ 306188 h 418083"/>
                  <a:gd name="connsiteX7" fmla="*/ 505812 w 533723"/>
                  <a:gd name="connsiteY7" fmla="*/ 305901 h 418083"/>
                  <a:gd name="connsiteX8" fmla="*/ 523335 w 533723"/>
                  <a:gd name="connsiteY8" fmla="*/ 297575 h 418083"/>
                  <a:gd name="connsiteX9" fmla="*/ 528506 w 533723"/>
                  <a:gd name="connsiteY9" fmla="*/ 291832 h 418083"/>
                  <a:gd name="connsiteX10" fmla="*/ 459095 w 533723"/>
                  <a:gd name="connsiteY10" fmla="*/ 214354 h 418083"/>
                  <a:gd name="connsiteX11" fmla="*/ 470185 w 533723"/>
                  <a:gd name="connsiteY11" fmla="*/ 232917 h 418083"/>
                  <a:gd name="connsiteX12" fmla="*/ 469083 w 533723"/>
                  <a:gd name="connsiteY12" fmla="*/ 236710 h 418083"/>
                  <a:gd name="connsiteX13" fmla="*/ 465107 w 533723"/>
                  <a:gd name="connsiteY13" fmla="*/ 228628 h 418083"/>
                  <a:gd name="connsiteX14" fmla="*/ 462850 w 533723"/>
                  <a:gd name="connsiteY14" fmla="*/ 223907 h 418083"/>
                  <a:gd name="connsiteX15" fmla="*/ 461361 w 533723"/>
                  <a:gd name="connsiteY15" fmla="*/ 220754 h 418083"/>
                  <a:gd name="connsiteX16" fmla="*/ 458921 w 533723"/>
                  <a:gd name="connsiteY16" fmla="*/ 213862 h 418083"/>
                  <a:gd name="connsiteX17" fmla="*/ 459095 w 533723"/>
                  <a:gd name="connsiteY17" fmla="*/ 214354 h 418083"/>
                  <a:gd name="connsiteX18" fmla="*/ 458953 w 533723"/>
                  <a:gd name="connsiteY18" fmla="*/ 214116 h 418083"/>
                  <a:gd name="connsiteX19" fmla="*/ 231642 w 533723"/>
                  <a:gd name="connsiteY19" fmla="*/ 117869 h 418083"/>
                  <a:gd name="connsiteX20" fmla="*/ 245739 w 533723"/>
                  <a:gd name="connsiteY20" fmla="*/ 119960 h 418083"/>
                  <a:gd name="connsiteX21" fmla="*/ 247479 w 533723"/>
                  <a:gd name="connsiteY21" fmla="*/ 117948 h 418083"/>
                  <a:gd name="connsiteX22" fmla="*/ 241439 w 533723"/>
                  <a:gd name="connsiteY22" fmla="*/ 117896 h 418083"/>
                  <a:gd name="connsiteX23" fmla="*/ 231642 w 533723"/>
                  <a:gd name="connsiteY23" fmla="*/ 117869 h 418083"/>
                  <a:gd name="connsiteX24" fmla="*/ 393966 w 533723"/>
                  <a:gd name="connsiteY24" fmla="*/ 59548 h 418083"/>
                  <a:gd name="connsiteX25" fmla="*/ 394760 w 533723"/>
                  <a:gd name="connsiteY25" fmla="*/ 61641 h 418083"/>
                  <a:gd name="connsiteX26" fmla="*/ 396543 w 533723"/>
                  <a:gd name="connsiteY26" fmla="*/ 61922 h 418083"/>
                  <a:gd name="connsiteX27" fmla="*/ 135290 w 533723"/>
                  <a:gd name="connsiteY27" fmla="*/ 95 h 418083"/>
                  <a:gd name="connsiteX28" fmla="*/ 142002 w 533723"/>
                  <a:gd name="connsiteY28" fmla="*/ 118 h 418083"/>
                  <a:gd name="connsiteX29" fmla="*/ 184247 w 533723"/>
                  <a:gd name="connsiteY29" fmla="*/ 9888 h 418083"/>
                  <a:gd name="connsiteX30" fmla="*/ 237411 w 533723"/>
                  <a:gd name="connsiteY30" fmla="*/ 31727 h 418083"/>
                  <a:gd name="connsiteX31" fmla="*/ 273908 w 533723"/>
                  <a:gd name="connsiteY31" fmla="*/ 50693 h 418083"/>
                  <a:gd name="connsiteX32" fmla="*/ 300993 w 533723"/>
                  <a:gd name="connsiteY32" fmla="*/ 65241 h 418083"/>
                  <a:gd name="connsiteX33" fmla="*/ 313770 w 533723"/>
                  <a:gd name="connsiteY33" fmla="*/ 72415 h 418083"/>
                  <a:gd name="connsiteX34" fmla="*/ 317458 w 533723"/>
                  <a:gd name="connsiteY34" fmla="*/ 74704 h 418083"/>
                  <a:gd name="connsiteX35" fmla="*/ 321989 w 533723"/>
                  <a:gd name="connsiteY35" fmla="*/ 77518 h 418083"/>
                  <a:gd name="connsiteX36" fmla="*/ 328509 w 533723"/>
                  <a:gd name="connsiteY36" fmla="*/ 81728 h 418083"/>
                  <a:gd name="connsiteX37" fmla="*/ 329950 w 533723"/>
                  <a:gd name="connsiteY37" fmla="*/ 82770 h 418083"/>
                  <a:gd name="connsiteX38" fmla="*/ 322786 w 533723"/>
                  <a:gd name="connsiteY38" fmla="*/ 67357 h 418083"/>
                  <a:gd name="connsiteX39" fmla="*/ 318179 w 533723"/>
                  <a:gd name="connsiteY39" fmla="*/ 66024 h 418083"/>
                  <a:gd name="connsiteX40" fmla="*/ 315145 w 533723"/>
                  <a:gd name="connsiteY40" fmla="*/ 65146 h 418083"/>
                  <a:gd name="connsiteX41" fmla="*/ 315984 w 533723"/>
                  <a:gd name="connsiteY41" fmla="*/ 64282 h 418083"/>
                  <a:gd name="connsiteX42" fmla="*/ 336115 w 533723"/>
                  <a:gd name="connsiteY42" fmla="*/ 45493 h 418083"/>
                  <a:gd name="connsiteX43" fmla="*/ 339135 w 533723"/>
                  <a:gd name="connsiteY43" fmla="*/ 43303 h 418083"/>
                  <a:gd name="connsiteX44" fmla="*/ 344556 w 533723"/>
                  <a:gd name="connsiteY44" fmla="*/ 40552 h 418083"/>
                  <a:gd name="connsiteX45" fmla="*/ 348957 w 533723"/>
                  <a:gd name="connsiteY45" fmla="*/ 38760 h 418083"/>
                  <a:gd name="connsiteX46" fmla="*/ 368054 w 533723"/>
                  <a:gd name="connsiteY46" fmla="*/ 34807 h 418083"/>
                  <a:gd name="connsiteX47" fmla="*/ 382234 w 533723"/>
                  <a:gd name="connsiteY47" fmla="*/ 37952 h 418083"/>
                  <a:gd name="connsiteX48" fmla="*/ 390275 w 533723"/>
                  <a:gd name="connsiteY48" fmla="*/ 35652 h 418083"/>
                  <a:gd name="connsiteX49" fmla="*/ 390840 w 533723"/>
                  <a:gd name="connsiteY49" fmla="*/ 35749 h 418083"/>
                  <a:gd name="connsiteX50" fmla="*/ 391575 w 533723"/>
                  <a:gd name="connsiteY50" fmla="*/ 35894 h 418083"/>
                  <a:gd name="connsiteX51" fmla="*/ 391750 w 533723"/>
                  <a:gd name="connsiteY51" fmla="*/ 35955 h 418083"/>
                  <a:gd name="connsiteX52" fmla="*/ 392615 w 533723"/>
                  <a:gd name="connsiteY52" fmla="*/ 36327 h 418083"/>
                  <a:gd name="connsiteX53" fmla="*/ 393242 w 533723"/>
                  <a:gd name="connsiteY53" fmla="*/ 36306 h 418083"/>
                  <a:gd name="connsiteX54" fmla="*/ 393406 w 533723"/>
                  <a:gd name="connsiteY54" fmla="*/ 36317 h 418083"/>
                  <a:gd name="connsiteX55" fmla="*/ 397383 w 533723"/>
                  <a:gd name="connsiteY55" fmla="*/ 37341 h 418083"/>
                  <a:gd name="connsiteX56" fmla="*/ 408367 w 533723"/>
                  <a:gd name="connsiteY56" fmla="*/ 43126 h 418083"/>
                  <a:gd name="connsiteX57" fmla="*/ 459773 w 533723"/>
                  <a:gd name="connsiteY57" fmla="*/ 126491 h 418083"/>
                  <a:gd name="connsiteX58" fmla="*/ 441680 w 533723"/>
                  <a:gd name="connsiteY58" fmla="*/ 188008 h 418083"/>
                  <a:gd name="connsiteX59" fmla="*/ 442553 w 533723"/>
                  <a:gd name="connsiteY59" fmla="*/ 192637 h 418083"/>
                  <a:gd name="connsiteX60" fmla="*/ 443081 w 533723"/>
                  <a:gd name="connsiteY60" fmla="*/ 194875 h 418083"/>
                  <a:gd name="connsiteX61" fmla="*/ 451172 w 533723"/>
                  <a:gd name="connsiteY61" fmla="*/ 201092 h 418083"/>
                  <a:gd name="connsiteX62" fmla="*/ 458953 w 533723"/>
                  <a:gd name="connsiteY62" fmla="*/ 214116 h 418083"/>
                  <a:gd name="connsiteX63" fmla="*/ 459209 w 533723"/>
                  <a:gd name="connsiteY63" fmla="*/ 216161 h 418083"/>
                  <a:gd name="connsiteX64" fmla="*/ 460971 w 533723"/>
                  <a:gd name="connsiteY64" fmla="*/ 219929 h 418083"/>
                  <a:gd name="connsiteX65" fmla="*/ 461361 w 533723"/>
                  <a:gd name="connsiteY65" fmla="*/ 220754 h 418083"/>
                  <a:gd name="connsiteX66" fmla="*/ 470303 w 533723"/>
                  <a:gd name="connsiteY66" fmla="*/ 246015 h 418083"/>
                  <a:gd name="connsiteX67" fmla="*/ 469962 w 533723"/>
                  <a:gd name="connsiteY67" fmla="*/ 245448 h 418083"/>
                  <a:gd name="connsiteX68" fmla="*/ 468971 w 533723"/>
                  <a:gd name="connsiteY68" fmla="*/ 243799 h 418083"/>
                  <a:gd name="connsiteX69" fmla="*/ 464115 w 533723"/>
                  <a:gd name="connsiteY69" fmla="*/ 240660 h 418083"/>
                  <a:gd name="connsiteX70" fmla="*/ 457544 w 533723"/>
                  <a:gd name="connsiteY70" fmla="*/ 239804 h 418083"/>
                  <a:gd name="connsiteX71" fmla="*/ 463829 w 533723"/>
                  <a:gd name="connsiteY71" fmla="*/ 242086 h 418083"/>
                  <a:gd name="connsiteX72" fmla="*/ 469895 w 533723"/>
                  <a:gd name="connsiteY72" fmla="*/ 245979 h 418083"/>
                  <a:gd name="connsiteX73" fmla="*/ 470460 w 533723"/>
                  <a:gd name="connsiteY73" fmla="*/ 246460 h 418083"/>
                  <a:gd name="connsiteX74" fmla="*/ 485321 w 533723"/>
                  <a:gd name="connsiteY74" fmla="*/ 288443 h 418083"/>
                  <a:gd name="connsiteX75" fmla="*/ 485666 w 533723"/>
                  <a:gd name="connsiteY75" fmla="*/ 289289 h 418083"/>
                  <a:gd name="connsiteX76" fmla="*/ 485392 w 533723"/>
                  <a:gd name="connsiteY76" fmla="*/ 285754 h 418083"/>
                  <a:gd name="connsiteX77" fmla="*/ 485409 w 533723"/>
                  <a:gd name="connsiteY77" fmla="*/ 284254 h 418083"/>
                  <a:gd name="connsiteX78" fmla="*/ 485552 w 533723"/>
                  <a:gd name="connsiteY78" fmla="*/ 284634 h 418083"/>
                  <a:gd name="connsiteX79" fmla="*/ 487684 w 533723"/>
                  <a:gd name="connsiteY79" fmla="*/ 290297 h 418083"/>
                  <a:gd name="connsiteX80" fmla="*/ 487716 w 533723"/>
                  <a:gd name="connsiteY80" fmla="*/ 290381 h 418083"/>
                  <a:gd name="connsiteX81" fmla="*/ 487709 w 533723"/>
                  <a:gd name="connsiteY81" fmla="*/ 290382 h 418083"/>
                  <a:gd name="connsiteX82" fmla="*/ 486150 w 533723"/>
                  <a:gd name="connsiteY82" fmla="*/ 290474 h 418083"/>
                  <a:gd name="connsiteX83" fmla="*/ 488742 w 533723"/>
                  <a:gd name="connsiteY83" fmla="*/ 296824 h 418083"/>
                  <a:gd name="connsiteX84" fmla="*/ 494320 w 533723"/>
                  <a:gd name="connsiteY84" fmla="*/ 295556 h 418083"/>
                  <a:gd name="connsiteX85" fmla="*/ 512429 w 533723"/>
                  <a:gd name="connsiteY85" fmla="*/ 291820 h 418083"/>
                  <a:gd name="connsiteX86" fmla="*/ 519005 w 533723"/>
                  <a:gd name="connsiteY86" fmla="*/ 287509 h 418083"/>
                  <a:gd name="connsiteX87" fmla="*/ 520508 w 533723"/>
                  <a:gd name="connsiteY87" fmla="*/ 286839 h 418083"/>
                  <a:gd name="connsiteX88" fmla="*/ 522424 w 533723"/>
                  <a:gd name="connsiteY88" fmla="*/ 286502 h 418083"/>
                  <a:gd name="connsiteX89" fmla="*/ 523091 w 533723"/>
                  <a:gd name="connsiteY89" fmla="*/ 286385 h 418083"/>
                  <a:gd name="connsiteX90" fmla="*/ 525364 w 533723"/>
                  <a:gd name="connsiteY90" fmla="*/ 286646 h 418083"/>
                  <a:gd name="connsiteX91" fmla="*/ 533413 w 533723"/>
                  <a:gd name="connsiteY91" fmla="*/ 297855 h 418083"/>
                  <a:gd name="connsiteX92" fmla="*/ 530826 w 533723"/>
                  <a:gd name="connsiteY92" fmla="*/ 316249 h 418083"/>
                  <a:gd name="connsiteX93" fmla="*/ 530588 w 533723"/>
                  <a:gd name="connsiteY93" fmla="*/ 318085 h 418083"/>
                  <a:gd name="connsiteX94" fmla="*/ 530192 w 533723"/>
                  <a:gd name="connsiteY94" fmla="*/ 320320 h 418083"/>
                  <a:gd name="connsiteX95" fmla="*/ 529838 w 533723"/>
                  <a:gd name="connsiteY95" fmla="*/ 321637 h 418083"/>
                  <a:gd name="connsiteX96" fmla="*/ 526883 w 533723"/>
                  <a:gd name="connsiteY96" fmla="*/ 332653 h 418083"/>
                  <a:gd name="connsiteX97" fmla="*/ 524435 w 533723"/>
                  <a:gd name="connsiteY97" fmla="*/ 341781 h 418083"/>
                  <a:gd name="connsiteX98" fmla="*/ 519934 w 533723"/>
                  <a:gd name="connsiteY98" fmla="*/ 353045 h 418083"/>
                  <a:gd name="connsiteX99" fmla="*/ 493458 w 533723"/>
                  <a:gd name="connsiteY99" fmla="*/ 392987 h 418083"/>
                  <a:gd name="connsiteX100" fmla="*/ 421143 w 533723"/>
                  <a:gd name="connsiteY100" fmla="*/ 403455 h 418083"/>
                  <a:gd name="connsiteX101" fmla="*/ 416615 w 533723"/>
                  <a:gd name="connsiteY101" fmla="*/ 401105 h 418083"/>
                  <a:gd name="connsiteX102" fmla="*/ 415306 w 533723"/>
                  <a:gd name="connsiteY102" fmla="*/ 404311 h 418083"/>
                  <a:gd name="connsiteX103" fmla="*/ 382546 w 533723"/>
                  <a:gd name="connsiteY103" fmla="*/ 418083 h 418083"/>
                  <a:gd name="connsiteX104" fmla="*/ 364512 w 533723"/>
                  <a:gd name="connsiteY104" fmla="*/ 414388 h 418083"/>
                  <a:gd name="connsiteX105" fmla="*/ 362260 w 533723"/>
                  <a:gd name="connsiteY105" fmla="*/ 412847 h 418083"/>
                  <a:gd name="connsiteX106" fmla="*/ 359508 w 533723"/>
                  <a:gd name="connsiteY106" fmla="*/ 412530 h 418083"/>
                  <a:gd name="connsiteX107" fmla="*/ 354180 w 533723"/>
                  <a:gd name="connsiteY107" fmla="*/ 409493 h 418083"/>
                  <a:gd name="connsiteX108" fmla="*/ 351263 w 533723"/>
                  <a:gd name="connsiteY108" fmla="*/ 406931 h 418083"/>
                  <a:gd name="connsiteX109" fmla="*/ 351015 w 533723"/>
                  <a:gd name="connsiteY109" fmla="*/ 406713 h 418083"/>
                  <a:gd name="connsiteX110" fmla="*/ 348397 w 533723"/>
                  <a:gd name="connsiteY110" fmla="*/ 403432 h 418083"/>
                  <a:gd name="connsiteX111" fmla="*/ 347445 w 533723"/>
                  <a:gd name="connsiteY111" fmla="*/ 401927 h 418083"/>
                  <a:gd name="connsiteX112" fmla="*/ 345319 w 533723"/>
                  <a:gd name="connsiteY112" fmla="*/ 397536 h 418083"/>
                  <a:gd name="connsiteX113" fmla="*/ 344561 w 533723"/>
                  <a:gd name="connsiteY113" fmla="*/ 395286 h 418083"/>
                  <a:gd name="connsiteX114" fmla="*/ 335650 w 533723"/>
                  <a:gd name="connsiteY114" fmla="*/ 375455 h 418083"/>
                  <a:gd name="connsiteX115" fmla="*/ 322714 w 533723"/>
                  <a:gd name="connsiteY115" fmla="*/ 362234 h 418083"/>
                  <a:gd name="connsiteX116" fmla="*/ 319648 w 533723"/>
                  <a:gd name="connsiteY116" fmla="*/ 358159 h 418083"/>
                  <a:gd name="connsiteX117" fmla="*/ 319434 w 533723"/>
                  <a:gd name="connsiteY117" fmla="*/ 357823 h 418083"/>
                  <a:gd name="connsiteX118" fmla="*/ 314734 w 533723"/>
                  <a:gd name="connsiteY118" fmla="*/ 350455 h 418083"/>
                  <a:gd name="connsiteX119" fmla="*/ 319052 w 533723"/>
                  <a:gd name="connsiteY119" fmla="*/ 316733 h 418083"/>
                  <a:gd name="connsiteX120" fmla="*/ 323333 w 533723"/>
                  <a:gd name="connsiteY120" fmla="*/ 310656 h 418083"/>
                  <a:gd name="connsiteX121" fmla="*/ 320679 w 533723"/>
                  <a:gd name="connsiteY121" fmla="*/ 310837 h 418083"/>
                  <a:gd name="connsiteX122" fmla="*/ 316984 w 533723"/>
                  <a:gd name="connsiteY122" fmla="*/ 309959 h 418083"/>
                  <a:gd name="connsiteX123" fmla="*/ 278469 w 533723"/>
                  <a:gd name="connsiteY123" fmla="*/ 281787 h 418083"/>
                  <a:gd name="connsiteX124" fmla="*/ 279196 w 533723"/>
                  <a:gd name="connsiteY124" fmla="*/ 221148 h 418083"/>
                  <a:gd name="connsiteX125" fmla="*/ 281137 w 533723"/>
                  <a:gd name="connsiteY125" fmla="*/ 212759 h 418083"/>
                  <a:gd name="connsiteX126" fmla="*/ 280817 w 533723"/>
                  <a:gd name="connsiteY126" fmla="*/ 212855 h 418083"/>
                  <a:gd name="connsiteX127" fmla="*/ 280074 w 533723"/>
                  <a:gd name="connsiteY127" fmla="*/ 213019 h 418083"/>
                  <a:gd name="connsiteX128" fmla="*/ 208386 w 533723"/>
                  <a:gd name="connsiteY128" fmla="*/ 230868 h 418083"/>
                  <a:gd name="connsiteX129" fmla="*/ 129358 w 533723"/>
                  <a:gd name="connsiteY129" fmla="*/ 256155 h 418083"/>
                  <a:gd name="connsiteX130" fmla="*/ 76481 w 533723"/>
                  <a:gd name="connsiteY130" fmla="*/ 253856 h 418083"/>
                  <a:gd name="connsiteX131" fmla="*/ 56365 w 533723"/>
                  <a:gd name="connsiteY131" fmla="*/ 204718 h 418083"/>
                  <a:gd name="connsiteX132" fmla="*/ 6361 w 533723"/>
                  <a:gd name="connsiteY132" fmla="*/ 145234 h 418083"/>
                  <a:gd name="connsiteX133" fmla="*/ 4924 w 533723"/>
                  <a:gd name="connsiteY133" fmla="*/ 90923 h 418083"/>
                  <a:gd name="connsiteX134" fmla="*/ 26190 w 533723"/>
                  <a:gd name="connsiteY134" fmla="*/ 62762 h 418083"/>
                  <a:gd name="connsiteX135" fmla="*/ 51192 w 533723"/>
                  <a:gd name="connsiteY135" fmla="*/ 63624 h 418083"/>
                  <a:gd name="connsiteX136" fmla="*/ 92574 w 533723"/>
                  <a:gd name="connsiteY136" fmla="*/ 72245 h 418083"/>
                  <a:gd name="connsiteX137" fmla="*/ 148899 w 533723"/>
                  <a:gd name="connsiteY137" fmla="*/ 97533 h 418083"/>
                  <a:gd name="connsiteX138" fmla="*/ 100620 w 533723"/>
                  <a:gd name="connsiteY138" fmla="*/ 70233 h 418083"/>
                  <a:gd name="connsiteX139" fmla="*/ 68722 w 533723"/>
                  <a:gd name="connsiteY139" fmla="*/ 57877 h 418083"/>
                  <a:gd name="connsiteX140" fmla="*/ 95735 w 533723"/>
                  <a:gd name="connsiteY140" fmla="*/ 33739 h 418083"/>
                  <a:gd name="connsiteX141" fmla="*/ 118438 w 533723"/>
                  <a:gd name="connsiteY141" fmla="*/ 6440 h 418083"/>
                  <a:gd name="connsiteX142" fmla="*/ 135290 w 533723"/>
                  <a:gd name="connsiteY142" fmla="*/ 95 h 418083"/>
                  <a:gd name="connsiteX0" fmla="*/ 528506 w 533723"/>
                  <a:gd name="connsiteY0" fmla="*/ 291832 h 419386"/>
                  <a:gd name="connsiteX1" fmla="*/ 510121 w 533723"/>
                  <a:gd name="connsiteY1" fmla="*/ 300446 h 419386"/>
                  <a:gd name="connsiteX2" fmla="*/ 500354 w 533723"/>
                  <a:gd name="connsiteY2" fmla="*/ 302312 h 419386"/>
                  <a:gd name="connsiteX3" fmla="*/ 489695 w 533723"/>
                  <a:gd name="connsiteY3" fmla="*/ 299159 h 419386"/>
                  <a:gd name="connsiteX4" fmla="*/ 490953 w 533723"/>
                  <a:gd name="connsiteY4" fmla="*/ 302242 h 419386"/>
                  <a:gd name="connsiteX5" fmla="*/ 490826 w 533723"/>
                  <a:gd name="connsiteY5" fmla="*/ 302554 h 419386"/>
                  <a:gd name="connsiteX6" fmla="*/ 497481 w 533723"/>
                  <a:gd name="connsiteY6" fmla="*/ 306188 h 419386"/>
                  <a:gd name="connsiteX7" fmla="*/ 505812 w 533723"/>
                  <a:gd name="connsiteY7" fmla="*/ 305901 h 419386"/>
                  <a:gd name="connsiteX8" fmla="*/ 523335 w 533723"/>
                  <a:gd name="connsiteY8" fmla="*/ 297575 h 419386"/>
                  <a:gd name="connsiteX9" fmla="*/ 528506 w 533723"/>
                  <a:gd name="connsiteY9" fmla="*/ 291832 h 419386"/>
                  <a:gd name="connsiteX10" fmla="*/ 459095 w 533723"/>
                  <a:gd name="connsiteY10" fmla="*/ 214354 h 419386"/>
                  <a:gd name="connsiteX11" fmla="*/ 470185 w 533723"/>
                  <a:gd name="connsiteY11" fmla="*/ 232917 h 419386"/>
                  <a:gd name="connsiteX12" fmla="*/ 469083 w 533723"/>
                  <a:gd name="connsiteY12" fmla="*/ 236710 h 419386"/>
                  <a:gd name="connsiteX13" fmla="*/ 465107 w 533723"/>
                  <a:gd name="connsiteY13" fmla="*/ 228628 h 419386"/>
                  <a:gd name="connsiteX14" fmla="*/ 462850 w 533723"/>
                  <a:gd name="connsiteY14" fmla="*/ 223907 h 419386"/>
                  <a:gd name="connsiteX15" fmla="*/ 461361 w 533723"/>
                  <a:gd name="connsiteY15" fmla="*/ 220754 h 419386"/>
                  <a:gd name="connsiteX16" fmla="*/ 459095 w 533723"/>
                  <a:gd name="connsiteY16" fmla="*/ 214354 h 419386"/>
                  <a:gd name="connsiteX17" fmla="*/ 458921 w 533723"/>
                  <a:gd name="connsiteY17" fmla="*/ 213862 h 419386"/>
                  <a:gd name="connsiteX18" fmla="*/ 459095 w 533723"/>
                  <a:gd name="connsiteY18" fmla="*/ 214354 h 419386"/>
                  <a:gd name="connsiteX19" fmla="*/ 458953 w 533723"/>
                  <a:gd name="connsiteY19" fmla="*/ 214116 h 419386"/>
                  <a:gd name="connsiteX20" fmla="*/ 458921 w 533723"/>
                  <a:gd name="connsiteY20" fmla="*/ 213862 h 419386"/>
                  <a:gd name="connsiteX21" fmla="*/ 231642 w 533723"/>
                  <a:gd name="connsiteY21" fmla="*/ 117869 h 419386"/>
                  <a:gd name="connsiteX22" fmla="*/ 245739 w 533723"/>
                  <a:gd name="connsiteY22" fmla="*/ 119960 h 419386"/>
                  <a:gd name="connsiteX23" fmla="*/ 247479 w 533723"/>
                  <a:gd name="connsiteY23" fmla="*/ 117948 h 419386"/>
                  <a:gd name="connsiteX24" fmla="*/ 241439 w 533723"/>
                  <a:gd name="connsiteY24" fmla="*/ 117896 h 419386"/>
                  <a:gd name="connsiteX25" fmla="*/ 231642 w 533723"/>
                  <a:gd name="connsiteY25" fmla="*/ 117869 h 419386"/>
                  <a:gd name="connsiteX26" fmla="*/ 393966 w 533723"/>
                  <a:gd name="connsiteY26" fmla="*/ 59548 h 419386"/>
                  <a:gd name="connsiteX27" fmla="*/ 394760 w 533723"/>
                  <a:gd name="connsiteY27" fmla="*/ 61641 h 419386"/>
                  <a:gd name="connsiteX28" fmla="*/ 396543 w 533723"/>
                  <a:gd name="connsiteY28" fmla="*/ 61922 h 419386"/>
                  <a:gd name="connsiteX29" fmla="*/ 393966 w 533723"/>
                  <a:gd name="connsiteY29" fmla="*/ 59548 h 419386"/>
                  <a:gd name="connsiteX30" fmla="*/ 135290 w 533723"/>
                  <a:gd name="connsiteY30" fmla="*/ 95 h 419386"/>
                  <a:gd name="connsiteX31" fmla="*/ 142002 w 533723"/>
                  <a:gd name="connsiteY31" fmla="*/ 118 h 419386"/>
                  <a:gd name="connsiteX32" fmla="*/ 184247 w 533723"/>
                  <a:gd name="connsiteY32" fmla="*/ 9888 h 419386"/>
                  <a:gd name="connsiteX33" fmla="*/ 237411 w 533723"/>
                  <a:gd name="connsiteY33" fmla="*/ 31727 h 419386"/>
                  <a:gd name="connsiteX34" fmla="*/ 273908 w 533723"/>
                  <a:gd name="connsiteY34" fmla="*/ 50693 h 419386"/>
                  <a:gd name="connsiteX35" fmla="*/ 300993 w 533723"/>
                  <a:gd name="connsiteY35" fmla="*/ 65241 h 419386"/>
                  <a:gd name="connsiteX36" fmla="*/ 313770 w 533723"/>
                  <a:gd name="connsiteY36" fmla="*/ 72415 h 419386"/>
                  <a:gd name="connsiteX37" fmla="*/ 317458 w 533723"/>
                  <a:gd name="connsiteY37" fmla="*/ 74704 h 419386"/>
                  <a:gd name="connsiteX38" fmla="*/ 321989 w 533723"/>
                  <a:gd name="connsiteY38" fmla="*/ 77518 h 419386"/>
                  <a:gd name="connsiteX39" fmla="*/ 328509 w 533723"/>
                  <a:gd name="connsiteY39" fmla="*/ 81728 h 419386"/>
                  <a:gd name="connsiteX40" fmla="*/ 329950 w 533723"/>
                  <a:gd name="connsiteY40" fmla="*/ 82770 h 419386"/>
                  <a:gd name="connsiteX41" fmla="*/ 322786 w 533723"/>
                  <a:gd name="connsiteY41" fmla="*/ 67357 h 419386"/>
                  <a:gd name="connsiteX42" fmla="*/ 318179 w 533723"/>
                  <a:gd name="connsiteY42" fmla="*/ 66024 h 419386"/>
                  <a:gd name="connsiteX43" fmla="*/ 315145 w 533723"/>
                  <a:gd name="connsiteY43" fmla="*/ 65146 h 419386"/>
                  <a:gd name="connsiteX44" fmla="*/ 315984 w 533723"/>
                  <a:gd name="connsiteY44" fmla="*/ 64282 h 419386"/>
                  <a:gd name="connsiteX45" fmla="*/ 336115 w 533723"/>
                  <a:gd name="connsiteY45" fmla="*/ 45493 h 419386"/>
                  <a:gd name="connsiteX46" fmla="*/ 339135 w 533723"/>
                  <a:gd name="connsiteY46" fmla="*/ 43303 h 419386"/>
                  <a:gd name="connsiteX47" fmla="*/ 344556 w 533723"/>
                  <a:gd name="connsiteY47" fmla="*/ 40552 h 419386"/>
                  <a:gd name="connsiteX48" fmla="*/ 348957 w 533723"/>
                  <a:gd name="connsiteY48" fmla="*/ 38760 h 419386"/>
                  <a:gd name="connsiteX49" fmla="*/ 368054 w 533723"/>
                  <a:gd name="connsiteY49" fmla="*/ 34807 h 419386"/>
                  <a:gd name="connsiteX50" fmla="*/ 382234 w 533723"/>
                  <a:gd name="connsiteY50" fmla="*/ 37952 h 419386"/>
                  <a:gd name="connsiteX51" fmla="*/ 390275 w 533723"/>
                  <a:gd name="connsiteY51" fmla="*/ 35652 h 419386"/>
                  <a:gd name="connsiteX52" fmla="*/ 390840 w 533723"/>
                  <a:gd name="connsiteY52" fmla="*/ 35749 h 419386"/>
                  <a:gd name="connsiteX53" fmla="*/ 391575 w 533723"/>
                  <a:gd name="connsiteY53" fmla="*/ 35894 h 419386"/>
                  <a:gd name="connsiteX54" fmla="*/ 391750 w 533723"/>
                  <a:gd name="connsiteY54" fmla="*/ 35955 h 419386"/>
                  <a:gd name="connsiteX55" fmla="*/ 392615 w 533723"/>
                  <a:gd name="connsiteY55" fmla="*/ 36327 h 419386"/>
                  <a:gd name="connsiteX56" fmla="*/ 393242 w 533723"/>
                  <a:gd name="connsiteY56" fmla="*/ 36306 h 419386"/>
                  <a:gd name="connsiteX57" fmla="*/ 393406 w 533723"/>
                  <a:gd name="connsiteY57" fmla="*/ 36317 h 419386"/>
                  <a:gd name="connsiteX58" fmla="*/ 397383 w 533723"/>
                  <a:gd name="connsiteY58" fmla="*/ 37341 h 419386"/>
                  <a:gd name="connsiteX59" fmla="*/ 408367 w 533723"/>
                  <a:gd name="connsiteY59" fmla="*/ 43126 h 419386"/>
                  <a:gd name="connsiteX60" fmla="*/ 459773 w 533723"/>
                  <a:gd name="connsiteY60" fmla="*/ 126491 h 419386"/>
                  <a:gd name="connsiteX61" fmla="*/ 441680 w 533723"/>
                  <a:gd name="connsiteY61" fmla="*/ 188008 h 419386"/>
                  <a:gd name="connsiteX62" fmla="*/ 442553 w 533723"/>
                  <a:gd name="connsiteY62" fmla="*/ 192637 h 419386"/>
                  <a:gd name="connsiteX63" fmla="*/ 443081 w 533723"/>
                  <a:gd name="connsiteY63" fmla="*/ 194875 h 419386"/>
                  <a:gd name="connsiteX64" fmla="*/ 451172 w 533723"/>
                  <a:gd name="connsiteY64" fmla="*/ 201092 h 419386"/>
                  <a:gd name="connsiteX65" fmla="*/ 458953 w 533723"/>
                  <a:gd name="connsiteY65" fmla="*/ 214116 h 419386"/>
                  <a:gd name="connsiteX66" fmla="*/ 459209 w 533723"/>
                  <a:gd name="connsiteY66" fmla="*/ 216161 h 419386"/>
                  <a:gd name="connsiteX67" fmla="*/ 460971 w 533723"/>
                  <a:gd name="connsiteY67" fmla="*/ 219929 h 419386"/>
                  <a:gd name="connsiteX68" fmla="*/ 461361 w 533723"/>
                  <a:gd name="connsiteY68" fmla="*/ 220754 h 419386"/>
                  <a:gd name="connsiteX69" fmla="*/ 470303 w 533723"/>
                  <a:gd name="connsiteY69" fmla="*/ 246015 h 419386"/>
                  <a:gd name="connsiteX70" fmla="*/ 469962 w 533723"/>
                  <a:gd name="connsiteY70" fmla="*/ 245448 h 419386"/>
                  <a:gd name="connsiteX71" fmla="*/ 468971 w 533723"/>
                  <a:gd name="connsiteY71" fmla="*/ 243799 h 419386"/>
                  <a:gd name="connsiteX72" fmla="*/ 464115 w 533723"/>
                  <a:gd name="connsiteY72" fmla="*/ 240660 h 419386"/>
                  <a:gd name="connsiteX73" fmla="*/ 457544 w 533723"/>
                  <a:gd name="connsiteY73" fmla="*/ 239804 h 419386"/>
                  <a:gd name="connsiteX74" fmla="*/ 463829 w 533723"/>
                  <a:gd name="connsiteY74" fmla="*/ 242086 h 419386"/>
                  <a:gd name="connsiteX75" fmla="*/ 469895 w 533723"/>
                  <a:gd name="connsiteY75" fmla="*/ 245979 h 419386"/>
                  <a:gd name="connsiteX76" fmla="*/ 470460 w 533723"/>
                  <a:gd name="connsiteY76" fmla="*/ 246460 h 419386"/>
                  <a:gd name="connsiteX77" fmla="*/ 485321 w 533723"/>
                  <a:gd name="connsiteY77" fmla="*/ 288443 h 419386"/>
                  <a:gd name="connsiteX78" fmla="*/ 485666 w 533723"/>
                  <a:gd name="connsiteY78" fmla="*/ 289289 h 419386"/>
                  <a:gd name="connsiteX79" fmla="*/ 485392 w 533723"/>
                  <a:gd name="connsiteY79" fmla="*/ 285754 h 419386"/>
                  <a:gd name="connsiteX80" fmla="*/ 485409 w 533723"/>
                  <a:gd name="connsiteY80" fmla="*/ 284254 h 419386"/>
                  <a:gd name="connsiteX81" fmla="*/ 485552 w 533723"/>
                  <a:gd name="connsiteY81" fmla="*/ 284634 h 419386"/>
                  <a:gd name="connsiteX82" fmla="*/ 487684 w 533723"/>
                  <a:gd name="connsiteY82" fmla="*/ 290297 h 419386"/>
                  <a:gd name="connsiteX83" fmla="*/ 487716 w 533723"/>
                  <a:gd name="connsiteY83" fmla="*/ 290381 h 419386"/>
                  <a:gd name="connsiteX84" fmla="*/ 487709 w 533723"/>
                  <a:gd name="connsiteY84" fmla="*/ 290382 h 419386"/>
                  <a:gd name="connsiteX85" fmla="*/ 486150 w 533723"/>
                  <a:gd name="connsiteY85" fmla="*/ 290474 h 419386"/>
                  <a:gd name="connsiteX86" fmla="*/ 488742 w 533723"/>
                  <a:gd name="connsiteY86" fmla="*/ 296824 h 419386"/>
                  <a:gd name="connsiteX87" fmla="*/ 494320 w 533723"/>
                  <a:gd name="connsiteY87" fmla="*/ 295556 h 419386"/>
                  <a:gd name="connsiteX88" fmla="*/ 512429 w 533723"/>
                  <a:gd name="connsiteY88" fmla="*/ 291820 h 419386"/>
                  <a:gd name="connsiteX89" fmla="*/ 519005 w 533723"/>
                  <a:gd name="connsiteY89" fmla="*/ 287509 h 419386"/>
                  <a:gd name="connsiteX90" fmla="*/ 520508 w 533723"/>
                  <a:gd name="connsiteY90" fmla="*/ 286839 h 419386"/>
                  <a:gd name="connsiteX91" fmla="*/ 522424 w 533723"/>
                  <a:gd name="connsiteY91" fmla="*/ 286502 h 419386"/>
                  <a:gd name="connsiteX92" fmla="*/ 523091 w 533723"/>
                  <a:gd name="connsiteY92" fmla="*/ 286385 h 419386"/>
                  <a:gd name="connsiteX93" fmla="*/ 525364 w 533723"/>
                  <a:gd name="connsiteY93" fmla="*/ 286646 h 419386"/>
                  <a:gd name="connsiteX94" fmla="*/ 533413 w 533723"/>
                  <a:gd name="connsiteY94" fmla="*/ 297855 h 419386"/>
                  <a:gd name="connsiteX95" fmla="*/ 530826 w 533723"/>
                  <a:gd name="connsiteY95" fmla="*/ 316249 h 419386"/>
                  <a:gd name="connsiteX96" fmla="*/ 530588 w 533723"/>
                  <a:gd name="connsiteY96" fmla="*/ 318085 h 419386"/>
                  <a:gd name="connsiteX97" fmla="*/ 530192 w 533723"/>
                  <a:gd name="connsiteY97" fmla="*/ 320320 h 419386"/>
                  <a:gd name="connsiteX98" fmla="*/ 529838 w 533723"/>
                  <a:gd name="connsiteY98" fmla="*/ 321637 h 419386"/>
                  <a:gd name="connsiteX99" fmla="*/ 526883 w 533723"/>
                  <a:gd name="connsiteY99" fmla="*/ 332653 h 419386"/>
                  <a:gd name="connsiteX100" fmla="*/ 524435 w 533723"/>
                  <a:gd name="connsiteY100" fmla="*/ 341781 h 419386"/>
                  <a:gd name="connsiteX101" fmla="*/ 519934 w 533723"/>
                  <a:gd name="connsiteY101" fmla="*/ 353045 h 419386"/>
                  <a:gd name="connsiteX102" fmla="*/ 493458 w 533723"/>
                  <a:gd name="connsiteY102" fmla="*/ 392987 h 419386"/>
                  <a:gd name="connsiteX103" fmla="*/ 421143 w 533723"/>
                  <a:gd name="connsiteY103" fmla="*/ 403455 h 419386"/>
                  <a:gd name="connsiteX104" fmla="*/ 416615 w 533723"/>
                  <a:gd name="connsiteY104" fmla="*/ 401105 h 419386"/>
                  <a:gd name="connsiteX105" fmla="*/ 401019 w 533723"/>
                  <a:gd name="connsiteY105" fmla="*/ 392405 h 419386"/>
                  <a:gd name="connsiteX106" fmla="*/ 382546 w 533723"/>
                  <a:gd name="connsiteY106" fmla="*/ 418083 h 419386"/>
                  <a:gd name="connsiteX107" fmla="*/ 364512 w 533723"/>
                  <a:gd name="connsiteY107" fmla="*/ 414388 h 419386"/>
                  <a:gd name="connsiteX108" fmla="*/ 362260 w 533723"/>
                  <a:gd name="connsiteY108" fmla="*/ 412847 h 419386"/>
                  <a:gd name="connsiteX109" fmla="*/ 359508 w 533723"/>
                  <a:gd name="connsiteY109" fmla="*/ 412530 h 419386"/>
                  <a:gd name="connsiteX110" fmla="*/ 354180 w 533723"/>
                  <a:gd name="connsiteY110" fmla="*/ 409493 h 419386"/>
                  <a:gd name="connsiteX111" fmla="*/ 351263 w 533723"/>
                  <a:gd name="connsiteY111" fmla="*/ 406931 h 419386"/>
                  <a:gd name="connsiteX112" fmla="*/ 351015 w 533723"/>
                  <a:gd name="connsiteY112" fmla="*/ 406713 h 419386"/>
                  <a:gd name="connsiteX113" fmla="*/ 348397 w 533723"/>
                  <a:gd name="connsiteY113" fmla="*/ 403432 h 419386"/>
                  <a:gd name="connsiteX114" fmla="*/ 347445 w 533723"/>
                  <a:gd name="connsiteY114" fmla="*/ 401927 h 419386"/>
                  <a:gd name="connsiteX115" fmla="*/ 345319 w 533723"/>
                  <a:gd name="connsiteY115" fmla="*/ 397536 h 419386"/>
                  <a:gd name="connsiteX116" fmla="*/ 344561 w 533723"/>
                  <a:gd name="connsiteY116" fmla="*/ 395286 h 419386"/>
                  <a:gd name="connsiteX117" fmla="*/ 335650 w 533723"/>
                  <a:gd name="connsiteY117" fmla="*/ 375455 h 419386"/>
                  <a:gd name="connsiteX118" fmla="*/ 322714 w 533723"/>
                  <a:gd name="connsiteY118" fmla="*/ 362234 h 419386"/>
                  <a:gd name="connsiteX119" fmla="*/ 319648 w 533723"/>
                  <a:gd name="connsiteY119" fmla="*/ 358159 h 419386"/>
                  <a:gd name="connsiteX120" fmla="*/ 319434 w 533723"/>
                  <a:gd name="connsiteY120" fmla="*/ 357823 h 419386"/>
                  <a:gd name="connsiteX121" fmla="*/ 314734 w 533723"/>
                  <a:gd name="connsiteY121" fmla="*/ 350455 h 419386"/>
                  <a:gd name="connsiteX122" fmla="*/ 319052 w 533723"/>
                  <a:gd name="connsiteY122" fmla="*/ 316733 h 419386"/>
                  <a:gd name="connsiteX123" fmla="*/ 323333 w 533723"/>
                  <a:gd name="connsiteY123" fmla="*/ 310656 h 419386"/>
                  <a:gd name="connsiteX124" fmla="*/ 320679 w 533723"/>
                  <a:gd name="connsiteY124" fmla="*/ 310837 h 419386"/>
                  <a:gd name="connsiteX125" fmla="*/ 316984 w 533723"/>
                  <a:gd name="connsiteY125" fmla="*/ 309959 h 419386"/>
                  <a:gd name="connsiteX126" fmla="*/ 278469 w 533723"/>
                  <a:gd name="connsiteY126" fmla="*/ 281787 h 419386"/>
                  <a:gd name="connsiteX127" fmla="*/ 279196 w 533723"/>
                  <a:gd name="connsiteY127" fmla="*/ 221148 h 419386"/>
                  <a:gd name="connsiteX128" fmla="*/ 281137 w 533723"/>
                  <a:gd name="connsiteY128" fmla="*/ 212759 h 419386"/>
                  <a:gd name="connsiteX129" fmla="*/ 280817 w 533723"/>
                  <a:gd name="connsiteY129" fmla="*/ 212855 h 419386"/>
                  <a:gd name="connsiteX130" fmla="*/ 280074 w 533723"/>
                  <a:gd name="connsiteY130" fmla="*/ 213019 h 419386"/>
                  <a:gd name="connsiteX131" fmla="*/ 208386 w 533723"/>
                  <a:gd name="connsiteY131" fmla="*/ 230868 h 419386"/>
                  <a:gd name="connsiteX132" fmla="*/ 129358 w 533723"/>
                  <a:gd name="connsiteY132" fmla="*/ 256155 h 419386"/>
                  <a:gd name="connsiteX133" fmla="*/ 76481 w 533723"/>
                  <a:gd name="connsiteY133" fmla="*/ 253856 h 419386"/>
                  <a:gd name="connsiteX134" fmla="*/ 56365 w 533723"/>
                  <a:gd name="connsiteY134" fmla="*/ 204718 h 419386"/>
                  <a:gd name="connsiteX135" fmla="*/ 6361 w 533723"/>
                  <a:gd name="connsiteY135" fmla="*/ 145234 h 419386"/>
                  <a:gd name="connsiteX136" fmla="*/ 4924 w 533723"/>
                  <a:gd name="connsiteY136" fmla="*/ 90923 h 419386"/>
                  <a:gd name="connsiteX137" fmla="*/ 26190 w 533723"/>
                  <a:gd name="connsiteY137" fmla="*/ 62762 h 419386"/>
                  <a:gd name="connsiteX138" fmla="*/ 51192 w 533723"/>
                  <a:gd name="connsiteY138" fmla="*/ 63624 h 419386"/>
                  <a:gd name="connsiteX139" fmla="*/ 92574 w 533723"/>
                  <a:gd name="connsiteY139" fmla="*/ 72245 h 419386"/>
                  <a:gd name="connsiteX140" fmla="*/ 148899 w 533723"/>
                  <a:gd name="connsiteY140" fmla="*/ 97533 h 419386"/>
                  <a:gd name="connsiteX141" fmla="*/ 100620 w 533723"/>
                  <a:gd name="connsiteY141" fmla="*/ 70233 h 419386"/>
                  <a:gd name="connsiteX142" fmla="*/ 68722 w 533723"/>
                  <a:gd name="connsiteY142" fmla="*/ 57877 h 419386"/>
                  <a:gd name="connsiteX143" fmla="*/ 95735 w 533723"/>
                  <a:gd name="connsiteY143" fmla="*/ 33739 h 419386"/>
                  <a:gd name="connsiteX144" fmla="*/ 118438 w 533723"/>
                  <a:gd name="connsiteY144" fmla="*/ 6440 h 419386"/>
                  <a:gd name="connsiteX145" fmla="*/ 135290 w 533723"/>
                  <a:gd name="connsiteY145" fmla="*/ 95 h 419386"/>
                  <a:gd name="connsiteX0" fmla="*/ 528506 w 533723"/>
                  <a:gd name="connsiteY0" fmla="*/ 291832 h 415347"/>
                  <a:gd name="connsiteX1" fmla="*/ 510121 w 533723"/>
                  <a:gd name="connsiteY1" fmla="*/ 300446 h 415347"/>
                  <a:gd name="connsiteX2" fmla="*/ 500354 w 533723"/>
                  <a:gd name="connsiteY2" fmla="*/ 302312 h 415347"/>
                  <a:gd name="connsiteX3" fmla="*/ 489695 w 533723"/>
                  <a:gd name="connsiteY3" fmla="*/ 299159 h 415347"/>
                  <a:gd name="connsiteX4" fmla="*/ 490953 w 533723"/>
                  <a:gd name="connsiteY4" fmla="*/ 302242 h 415347"/>
                  <a:gd name="connsiteX5" fmla="*/ 490826 w 533723"/>
                  <a:gd name="connsiteY5" fmla="*/ 302554 h 415347"/>
                  <a:gd name="connsiteX6" fmla="*/ 497481 w 533723"/>
                  <a:gd name="connsiteY6" fmla="*/ 306188 h 415347"/>
                  <a:gd name="connsiteX7" fmla="*/ 505812 w 533723"/>
                  <a:gd name="connsiteY7" fmla="*/ 305901 h 415347"/>
                  <a:gd name="connsiteX8" fmla="*/ 523335 w 533723"/>
                  <a:gd name="connsiteY8" fmla="*/ 297575 h 415347"/>
                  <a:gd name="connsiteX9" fmla="*/ 528506 w 533723"/>
                  <a:gd name="connsiteY9" fmla="*/ 291832 h 415347"/>
                  <a:gd name="connsiteX10" fmla="*/ 459095 w 533723"/>
                  <a:gd name="connsiteY10" fmla="*/ 214354 h 415347"/>
                  <a:gd name="connsiteX11" fmla="*/ 470185 w 533723"/>
                  <a:gd name="connsiteY11" fmla="*/ 232917 h 415347"/>
                  <a:gd name="connsiteX12" fmla="*/ 469083 w 533723"/>
                  <a:gd name="connsiteY12" fmla="*/ 236710 h 415347"/>
                  <a:gd name="connsiteX13" fmla="*/ 465107 w 533723"/>
                  <a:gd name="connsiteY13" fmla="*/ 228628 h 415347"/>
                  <a:gd name="connsiteX14" fmla="*/ 462850 w 533723"/>
                  <a:gd name="connsiteY14" fmla="*/ 223907 h 415347"/>
                  <a:gd name="connsiteX15" fmla="*/ 461361 w 533723"/>
                  <a:gd name="connsiteY15" fmla="*/ 220754 h 415347"/>
                  <a:gd name="connsiteX16" fmla="*/ 459095 w 533723"/>
                  <a:gd name="connsiteY16" fmla="*/ 214354 h 415347"/>
                  <a:gd name="connsiteX17" fmla="*/ 458921 w 533723"/>
                  <a:gd name="connsiteY17" fmla="*/ 213862 h 415347"/>
                  <a:gd name="connsiteX18" fmla="*/ 459095 w 533723"/>
                  <a:gd name="connsiteY18" fmla="*/ 214354 h 415347"/>
                  <a:gd name="connsiteX19" fmla="*/ 458953 w 533723"/>
                  <a:gd name="connsiteY19" fmla="*/ 214116 h 415347"/>
                  <a:gd name="connsiteX20" fmla="*/ 458921 w 533723"/>
                  <a:gd name="connsiteY20" fmla="*/ 213862 h 415347"/>
                  <a:gd name="connsiteX21" fmla="*/ 231642 w 533723"/>
                  <a:gd name="connsiteY21" fmla="*/ 117869 h 415347"/>
                  <a:gd name="connsiteX22" fmla="*/ 245739 w 533723"/>
                  <a:gd name="connsiteY22" fmla="*/ 119960 h 415347"/>
                  <a:gd name="connsiteX23" fmla="*/ 247479 w 533723"/>
                  <a:gd name="connsiteY23" fmla="*/ 117948 h 415347"/>
                  <a:gd name="connsiteX24" fmla="*/ 241439 w 533723"/>
                  <a:gd name="connsiteY24" fmla="*/ 117896 h 415347"/>
                  <a:gd name="connsiteX25" fmla="*/ 231642 w 533723"/>
                  <a:gd name="connsiteY25" fmla="*/ 117869 h 415347"/>
                  <a:gd name="connsiteX26" fmla="*/ 393966 w 533723"/>
                  <a:gd name="connsiteY26" fmla="*/ 59548 h 415347"/>
                  <a:gd name="connsiteX27" fmla="*/ 394760 w 533723"/>
                  <a:gd name="connsiteY27" fmla="*/ 61641 h 415347"/>
                  <a:gd name="connsiteX28" fmla="*/ 396543 w 533723"/>
                  <a:gd name="connsiteY28" fmla="*/ 61922 h 415347"/>
                  <a:gd name="connsiteX29" fmla="*/ 393966 w 533723"/>
                  <a:gd name="connsiteY29" fmla="*/ 59548 h 415347"/>
                  <a:gd name="connsiteX30" fmla="*/ 135290 w 533723"/>
                  <a:gd name="connsiteY30" fmla="*/ 95 h 415347"/>
                  <a:gd name="connsiteX31" fmla="*/ 142002 w 533723"/>
                  <a:gd name="connsiteY31" fmla="*/ 118 h 415347"/>
                  <a:gd name="connsiteX32" fmla="*/ 184247 w 533723"/>
                  <a:gd name="connsiteY32" fmla="*/ 9888 h 415347"/>
                  <a:gd name="connsiteX33" fmla="*/ 237411 w 533723"/>
                  <a:gd name="connsiteY33" fmla="*/ 31727 h 415347"/>
                  <a:gd name="connsiteX34" fmla="*/ 273908 w 533723"/>
                  <a:gd name="connsiteY34" fmla="*/ 50693 h 415347"/>
                  <a:gd name="connsiteX35" fmla="*/ 300993 w 533723"/>
                  <a:gd name="connsiteY35" fmla="*/ 65241 h 415347"/>
                  <a:gd name="connsiteX36" fmla="*/ 313770 w 533723"/>
                  <a:gd name="connsiteY36" fmla="*/ 72415 h 415347"/>
                  <a:gd name="connsiteX37" fmla="*/ 317458 w 533723"/>
                  <a:gd name="connsiteY37" fmla="*/ 74704 h 415347"/>
                  <a:gd name="connsiteX38" fmla="*/ 321989 w 533723"/>
                  <a:gd name="connsiteY38" fmla="*/ 77518 h 415347"/>
                  <a:gd name="connsiteX39" fmla="*/ 328509 w 533723"/>
                  <a:gd name="connsiteY39" fmla="*/ 81728 h 415347"/>
                  <a:gd name="connsiteX40" fmla="*/ 329950 w 533723"/>
                  <a:gd name="connsiteY40" fmla="*/ 82770 h 415347"/>
                  <a:gd name="connsiteX41" fmla="*/ 322786 w 533723"/>
                  <a:gd name="connsiteY41" fmla="*/ 67357 h 415347"/>
                  <a:gd name="connsiteX42" fmla="*/ 318179 w 533723"/>
                  <a:gd name="connsiteY42" fmla="*/ 66024 h 415347"/>
                  <a:gd name="connsiteX43" fmla="*/ 315145 w 533723"/>
                  <a:gd name="connsiteY43" fmla="*/ 65146 h 415347"/>
                  <a:gd name="connsiteX44" fmla="*/ 315984 w 533723"/>
                  <a:gd name="connsiteY44" fmla="*/ 64282 h 415347"/>
                  <a:gd name="connsiteX45" fmla="*/ 336115 w 533723"/>
                  <a:gd name="connsiteY45" fmla="*/ 45493 h 415347"/>
                  <a:gd name="connsiteX46" fmla="*/ 339135 w 533723"/>
                  <a:gd name="connsiteY46" fmla="*/ 43303 h 415347"/>
                  <a:gd name="connsiteX47" fmla="*/ 344556 w 533723"/>
                  <a:gd name="connsiteY47" fmla="*/ 40552 h 415347"/>
                  <a:gd name="connsiteX48" fmla="*/ 348957 w 533723"/>
                  <a:gd name="connsiteY48" fmla="*/ 38760 h 415347"/>
                  <a:gd name="connsiteX49" fmla="*/ 368054 w 533723"/>
                  <a:gd name="connsiteY49" fmla="*/ 34807 h 415347"/>
                  <a:gd name="connsiteX50" fmla="*/ 382234 w 533723"/>
                  <a:gd name="connsiteY50" fmla="*/ 37952 h 415347"/>
                  <a:gd name="connsiteX51" fmla="*/ 390275 w 533723"/>
                  <a:gd name="connsiteY51" fmla="*/ 35652 h 415347"/>
                  <a:gd name="connsiteX52" fmla="*/ 390840 w 533723"/>
                  <a:gd name="connsiteY52" fmla="*/ 35749 h 415347"/>
                  <a:gd name="connsiteX53" fmla="*/ 391575 w 533723"/>
                  <a:gd name="connsiteY53" fmla="*/ 35894 h 415347"/>
                  <a:gd name="connsiteX54" fmla="*/ 391750 w 533723"/>
                  <a:gd name="connsiteY54" fmla="*/ 35955 h 415347"/>
                  <a:gd name="connsiteX55" fmla="*/ 392615 w 533723"/>
                  <a:gd name="connsiteY55" fmla="*/ 36327 h 415347"/>
                  <a:gd name="connsiteX56" fmla="*/ 393242 w 533723"/>
                  <a:gd name="connsiteY56" fmla="*/ 36306 h 415347"/>
                  <a:gd name="connsiteX57" fmla="*/ 393406 w 533723"/>
                  <a:gd name="connsiteY57" fmla="*/ 36317 h 415347"/>
                  <a:gd name="connsiteX58" fmla="*/ 397383 w 533723"/>
                  <a:gd name="connsiteY58" fmla="*/ 37341 h 415347"/>
                  <a:gd name="connsiteX59" fmla="*/ 408367 w 533723"/>
                  <a:gd name="connsiteY59" fmla="*/ 43126 h 415347"/>
                  <a:gd name="connsiteX60" fmla="*/ 459773 w 533723"/>
                  <a:gd name="connsiteY60" fmla="*/ 126491 h 415347"/>
                  <a:gd name="connsiteX61" fmla="*/ 441680 w 533723"/>
                  <a:gd name="connsiteY61" fmla="*/ 188008 h 415347"/>
                  <a:gd name="connsiteX62" fmla="*/ 442553 w 533723"/>
                  <a:gd name="connsiteY62" fmla="*/ 192637 h 415347"/>
                  <a:gd name="connsiteX63" fmla="*/ 443081 w 533723"/>
                  <a:gd name="connsiteY63" fmla="*/ 194875 h 415347"/>
                  <a:gd name="connsiteX64" fmla="*/ 451172 w 533723"/>
                  <a:gd name="connsiteY64" fmla="*/ 201092 h 415347"/>
                  <a:gd name="connsiteX65" fmla="*/ 458953 w 533723"/>
                  <a:gd name="connsiteY65" fmla="*/ 214116 h 415347"/>
                  <a:gd name="connsiteX66" fmla="*/ 459209 w 533723"/>
                  <a:gd name="connsiteY66" fmla="*/ 216161 h 415347"/>
                  <a:gd name="connsiteX67" fmla="*/ 460971 w 533723"/>
                  <a:gd name="connsiteY67" fmla="*/ 219929 h 415347"/>
                  <a:gd name="connsiteX68" fmla="*/ 461361 w 533723"/>
                  <a:gd name="connsiteY68" fmla="*/ 220754 h 415347"/>
                  <a:gd name="connsiteX69" fmla="*/ 470303 w 533723"/>
                  <a:gd name="connsiteY69" fmla="*/ 246015 h 415347"/>
                  <a:gd name="connsiteX70" fmla="*/ 469962 w 533723"/>
                  <a:gd name="connsiteY70" fmla="*/ 245448 h 415347"/>
                  <a:gd name="connsiteX71" fmla="*/ 468971 w 533723"/>
                  <a:gd name="connsiteY71" fmla="*/ 243799 h 415347"/>
                  <a:gd name="connsiteX72" fmla="*/ 464115 w 533723"/>
                  <a:gd name="connsiteY72" fmla="*/ 240660 h 415347"/>
                  <a:gd name="connsiteX73" fmla="*/ 457544 w 533723"/>
                  <a:gd name="connsiteY73" fmla="*/ 239804 h 415347"/>
                  <a:gd name="connsiteX74" fmla="*/ 463829 w 533723"/>
                  <a:gd name="connsiteY74" fmla="*/ 242086 h 415347"/>
                  <a:gd name="connsiteX75" fmla="*/ 469895 w 533723"/>
                  <a:gd name="connsiteY75" fmla="*/ 245979 h 415347"/>
                  <a:gd name="connsiteX76" fmla="*/ 470460 w 533723"/>
                  <a:gd name="connsiteY76" fmla="*/ 246460 h 415347"/>
                  <a:gd name="connsiteX77" fmla="*/ 485321 w 533723"/>
                  <a:gd name="connsiteY77" fmla="*/ 288443 h 415347"/>
                  <a:gd name="connsiteX78" fmla="*/ 485666 w 533723"/>
                  <a:gd name="connsiteY78" fmla="*/ 289289 h 415347"/>
                  <a:gd name="connsiteX79" fmla="*/ 485392 w 533723"/>
                  <a:gd name="connsiteY79" fmla="*/ 285754 h 415347"/>
                  <a:gd name="connsiteX80" fmla="*/ 485409 w 533723"/>
                  <a:gd name="connsiteY80" fmla="*/ 284254 h 415347"/>
                  <a:gd name="connsiteX81" fmla="*/ 485552 w 533723"/>
                  <a:gd name="connsiteY81" fmla="*/ 284634 h 415347"/>
                  <a:gd name="connsiteX82" fmla="*/ 487684 w 533723"/>
                  <a:gd name="connsiteY82" fmla="*/ 290297 h 415347"/>
                  <a:gd name="connsiteX83" fmla="*/ 487716 w 533723"/>
                  <a:gd name="connsiteY83" fmla="*/ 290381 h 415347"/>
                  <a:gd name="connsiteX84" fmla="*/ 487709 w 533723"/>
                  <a:gd name="connsiteY84" fmla="*/ 290382 h 415347"/>
                  <a:gd name="connsiteX85" fmla="*/ 486150 w 533723"/>
                  <a:gd name="connsiteY85" fmla="*/ 290474 h 415347"/>
                  <a:gd name="connsiteX86" fmla="*/ 488742 w 533723"/>
                  <a:gd name="connsiteY86" fmla="*/ 296824 h 415347"/>
                  <a:gd name="connsiteX87" fmla="*/ 494320 w 533723"/>
                  <a:gd name="connsiteY87" fmla="*/ 295556 h 415347"/>
                  <a:gd name="connsiteX88" fmla="*/ 512429 w 533723"/>
                  <a:gd name="connsiteY88" fmla="*/ 291820 h 415347"/>
                  <a:gd name="connsiteX89" fmla="*/ 519005 w 533723"/>
                  <a:gd name="connsiteY89" fmla="*/ 287509 h 415347"/>
                  <a:gd name="connsiteX90" fmla="*/ 520508 w 533723"/>
                  <a:gd name="connsiteY90" fmla="*/ 286839 h 415347"/>
                  <a:gd name="connsiteX91" fmla="*/ 522424 w 533723"/>
                  <a:gd name="connsiteY91" fmla="*/ 286502 h 415347"/>
                  <a:gd name="connsiteX92" fmla="*/ 523091 w 533723"/>
                  <a:gd name="connsiteY92" fmla="*/ 286385 h 415347"/>
                  <a:gd name="connsiteX93" fmla="*/ 525364 w 533723"/>
                  <a:gd name="connsiteY93" fmla="*/ 286646 h 415347"/>
                  <a:gd name="connsiteX94" fmla="*/ 533413 w 533723"/>
                  <a:gd name="connsiteY94" fmla="*/ 297855 h 415347"/>
                  <a:gd name="connsiteX95" fmla="*/ 530826 w 533723"/>
                  <a:gd name="connsiteY95" fmla="*/ 316249 h 415347"/>
                  <a:gd name="connsiteX96" fmla="*/ 530588 w 533723"/>
                  <a:gd name="connsiteY96" fmla="*/ 318085 h 415347"/>
                  <a:gd name="connsiteX97" fmla="*/ 530192 w 533723"/>
                  <a:gd name="connsiteY97" fmla="*/ 320320 h 415347"/>
                  <a:gd name="connsiteX98" fmla="*/ 529838 w 533723"/>
                  <a:gd name="connsiteY98" fmla="*/ 321637 h 415347"/>
                  <a:gd name="connsiteX99" fmla="*/ 526883 w 533723"/>
                  <a:gd name="connsiteY99" fmla="*/ 332653 h 415347"/>
                  <a:gd name="connsiteX100" fmla="*/ 524435 w 533723"/>
                  <a:gd name="connsiteY100" fmla="*/ 341781 h 415347"/>
                  <a:gd name="connsiteX101" fmla="*/ 519934 w 533723"/>
                  <a:gd name="connsiteY101" fmla="*/ 353045 h 415347"/>
                  <a:gd name="connsiteX102" fmla="*/ 493458 w 533723"/>
                  <a:gd name="connsiteY102" fmla="*/ 392987 h 415347"/>
                  <a:gd name="connsiteX103" fmla="*/ 421143 w 533723"/>
                  <a:gd name="connsiteY103" fmla="*/ 403455 h 415347"/>
                  <a:gd name="connsiteX104" fmla="*/ 416615 w 533723"/>
                  <a:gd name="connsiteY104" fmla="*/ 401105 h 415347"/>
                  <a:gd name="connsiteX105" fmla="*/ 401019 w 533723"/>
                  <a:gd name="connsiteY105" fmla="*/ 392405 h 415347"/>
                  <a:gd name="connsiteX106" fmla="*/ 381629 w 533723"/>
                  <a:gd name="connsiteY106" fmla="*/ 410745 h 415347"/>
                  <a:gd name="connsiteX107" fmla="*/ 364512 w 533723"/>
                  <a:gd name="connsiteY107" fmla="*/ 414388 h 415347"/>
                  <a:gd name="connsiteX108" fmla="*/ 362260 w 533723"/>
                  <a:gd name="connsiteY108" fmla="*/ 412847 h 415347"/>
                  <a:gd name="connsiteX109" fmla="*/ 359508 w 533723"/>
                  <a:gd name="connsiteY109" fmla="*/ 412530 h 415347"/>
                  <a:gd name="connsiteX110" fmla="*/ 354180 w 533723"/>
                  <a:gd name="connsiteY110" fmla="*/ 409493 h 415347"/>
                  <a:gd name="connsiteX111" fmla="*/ 351263 w 533723"/>
                  <a:gd name="connsiteY111" fmla="*/ 406931 h 415347"/>
                  <a:gd name="connsiteX112" fmla="*/ 351015 w 533723"/>
                  <a:gd name="connsiteY112" fmla="*/ 406713 h 415347"/>
                  <a:gd name="connsiteX113" fmla="*/ 348397 w 533723"/>
                  <a:gd name="connsiteY113" fmla="*/ 403432 h 415347"/>
                  <a:gd name="connsiteX114" fmla="*/ 347445 w 533723"/>
                  <a:gd name="connsiteY114" fmla="*/ 401927 h 415347"/>
                  <a:gd name="connsiteX115" fmla="*/ 345319 w 533723"/>
                  <a:gd name="connsiteY115" fmla="*/ 397536 h 415347"/>
                  <a:gd name="connsiteX116" fmla="*/ 344561 w 533723"/>
                  <a:gd name="connsiteY116" fmla="*/ 395286 h 415347"/>
                  <a:gd name="connsiteX117" fmla="*/ 335650 w 533723"/>
                  <a:gd name="connsiteY117" fmla="*/ 375455 h 415347"/>
                  <a:gd name="connsiteX118" fmla="*/ 322714 w 533723"/>
                  <a:gd name="connsiteY118" fmla="*/ 362234 h 415347"/>
                  <a:gd name="connsiteX119" fmla="*/ 319648 w 533723"/>
                  <a:gd name="connsiteY119" fmla="*/ 358159 h 415347"/>
                  <a:gd name="connsiteX120" fmla="*/ 319434 w 533723"/>
                  <a:gd name="connsiteY120" fmla="*/ 357823 h 415347"/>
                  <a:gd name="connsiteX121" fmla="*/ 314734 w 533723"/>
                  <a:gd name="connsiteY121" fmla="*/ 350455 h 415347"/>
                  <a:gd name="connsiteX122" fmla="*/ 319052 w 533723"/>
                  <a:gd name="connsiteY122" fmla="*/ 316733 h 415347"/>
                  <a:gd name="connsiteX123" fmla="*/ 323333 w 533723"/>
                  <a:gd name="connsiteY123" fmla="*/ 310656 h 415347"/>
                  <a:gd name="connsiteX124" fmla="*/ 320679 w 533723"/>
                  <a:gd name="connsiteY124" fmla="*/ 310837 h 415347"/>
                  <a:gd name="connsiteX125" fmla="*/ 316984 w 533723"/>
                  <a:gd name="connsiteY125" fmla="*/ 309959 h 415347"/>
                  <a:gd name="connsiteX126" fmla="*/ 278469 w 533723"/>
                  <a:gd name="connsiteY126" fmla="*/ 281787 h 415347"/>
                  <a:gd name="connsiteX127" fmla="*/ 279196 w 533723"/>
                  <a:gd name="connsiteY127" fmla="*/ 221148 h 415347"/>
                  <a:gd name="connsiteX128" fmla="*/ 281137 w 533723"/>
                  <a:gd name="connsiteY128" fmla="*/ 212759 h 415347"/>
                  <a:gd name="connsiteX129" fmla="*/ 280817 w 533723"/>
                  <a:gd name="connsiteY129" fmla="*/ 212855 h 415347"/>
                  <a:gd name="connsiteX130" fmla="*/ 280074 w 533723"/>
                  <a:gd name="connsiteY130" fmla="*/ 213019 h 415347"/>
                  <a:gd name="connsiteX131" fmla="*/ 208386 w 533723"/>
                  <a:gd name="connsiteY131" fmla="*/ 230868 h 415347"/>
                  <a:gd name="connsiteX132" fmla="*/ 129358 w 533723"/>
                  <a:gd name="connsiteY132" fmla="*/ 256155 h 415347"/>
                  <a:gd name="connsiteX133" fmla="*/ 76481 w 533723"/>
                  <a:gd name="connsiteY133" fmla="*/ 253856 h 415347"/>
                  <a:gd name="connsiteX134" fmla="*/ 56365 w 533723"/>
                  <a:gd name="connsiteY134" fmla="*/ 204718 h 415347"/>
                  <a:gd name="connsiteX135" fmla="*/ 6361 w 533723"/>
                  <a:gd name="connsiteY135" fmla="*/ 145234 h 415347"/>
                  <a:gd name="connsiteX136" fmla="*/ 4924 w 533723"/>
                  <a:gd name="connsiteY136" fmla="*/ 90923 h 415347"/>
                  <a:gd name="connsiteX137" fmla="*/ 26190 w 533723"/>
                  <a:gd name="connsiteY137" fmla="*/ 62762 h 415347"/>
                  <a:gd name="connsiteX138" fmla="*/ 51192 w 533723"/>
                  <a:gd name="connsiteY138" fmla="*/ 63624 h 415347"/>
                  <a:gd name="connsiteX139" fmla="*/ 92574 w 533723"/>
                  <a:gd name="connsiteY139" fmla="*/ 72245 h 415347"/>
                  <a:gd name="connsiteX140" fmla="*/ 148899 w 533723"/>
                  <a:gd name="connsiteY140" fmla="*/ 97533 h 415347"/>
                  <a:gd name="connsiteX141" fmla="*/ 100620 w 533723"/>
                  <a:gd name="connsiteY141" fmla="*/ 70233 h 415347"/>
                  <a:gd name="connsiteX142" fmla="*/ 68722 w 533723"/>
                  <a:gd name="connsiteY142" fmla="*/ 57877 h 415347"/>
                  <a:gd name="connsiteX143" fmla="*/ 95735 w 533723"/>
                  <a:gd name="connsiteY143" fmla="*/ 33739 h 415347"/>
                  <a:gd name="connsiteX144" fmla="*/ 118438 w 533723"/>
                  <a:gd name="connsiteY144" fmla="*/ 6440 h 415347"/>
                  <a:gd name="connsiteX145" fmla="*/ 135290 w 533723"/>
                  <a:gd name="connsiteY145" fmla="*/ 95 h 415347"/>
                  <a:gd name="connsiteX0" fmla="*/ 528506 w 533723"/>
                  <a:gd name="connsiteY0" fmla="*/ 291832 h 415322"/>
                  <a:gd name="connsiteX1" fmla="*/ 510121 w 533723"/>
                  <a:gd name="connsiteY1" fmla="*/ 300446 h 415322"/>
                  <a:gd name="connsiteX2" fmla="*/ 500354 w 533723"/>
                  <a:gd name="connsiteY2" fmla="*/ 302312 h 415322"/>
                  <a:gd name="connsiteX3" fmla="*/ 489695 w 533723"/>
                  <a:gd name="connsiteY3" fmla="*/ 299159 h 415322"/>
                  <a:gd name="connsiteX4" fmla="*/ 490953 w 533723"/>
                  <a:gd name="connsiteY4" fmla="*/ 302242 h 415322"/>
                  <a:gd name="connsiteX5" fmla="*/ 490826 w 533723"/>
                  <a:gd name="connsiteY5" fmla="*/ 302554 h 415322"/>
                  <a:gd name="connsiteX6" fmla="*/ 497481 w 533723"/>
                  <a:gd name="connsiteY6" fmla="*/ 306188 h 415322"/>
                  <a:gd name="connsiteX7" fmla="*/ 505812 w 533723"/>
                  <a:gd name="connsiteY7" fmla="*/ 305901 h 415322"/>
                  <a:gd name="connsiteX8" fmla="*/ 523335 w 533723"/>
                  <a:gd name="connsiteY8" fmla="*/ 297575 h 415322"/>
                  <a:gd name="connsiteX9" fmla="*/ 528506 w 533723"/>
                  <a:gd name="connsiteY9" fmla="*/ 291832 h 415322"/>
                  <a:gd name="connsiteX10" fmla="*/ 459095 w 533723"/>
                  <a:gd name="connsiteY10" fmla="*/ 214354 h 415322"/>
                  <a:gd name="connsiteX11" fmla="*/ 470185 w 533723"/>
                  <a:gd name="connsiteY11" fmla="*/ 232917 h 415322"/>
                  <a:gd name="connsiteX12" fmla="*/ 469083 w 533723"/>
                  <a:gd name="connsiteY12" fmla="*/ 236710 h 415322"/>
                  <a:gd name="connsiteX13" fmla="*/ 465107 w 533723"/>
                  <a:gd name="connsiteY13" fmla="*/ 228628 h 415322"/>
                  <a:gd name="connsiteX14" fmla="*/ 462850 w 533723"/>
                  <a:gd name="connsiteY14" fmla="*/ 223907 h 415322"/>
                  <a:gd name="connsiteX15" fmla="*/ 461361 w 533723"/>
                  <a:gd name="connsiteY15" fmla="*/ 220754 h 415322"/>
                  <a:gd name="connsiteX16" fmla="*/ 459095 w 533723"/>
                  <a:gd name="connsiteY16" fmla="*/ 214354 h 415322"/>
                  <a:gd name="connsiteX17" fmla="*/ 458921 w 533723"/>
                  <a:gd name="connsiteY17" fmla="*/ 213862 h 415322"/>
                  <a:gd name="connsiteX18" fmla="*/ 459095 w 533723"/>
                  <a:gd name="connsiteY18" fmla="*/ 214354 h 415322"/>
                  <a:gd name="connsiteX19" fmla="*/ 458953 w 533723"/>
                  <a:gd name="connsiteY19" fmla="*/ 214116 h 415322"/>
                  <a:gd name="connsiteX20" fmla="*/ 458921 w 533723"/>
                  <a:gd name="connsiteY20" fmla="*/ 213862 h 415322"/>
                  <a:gd name="connsiteX21" fmla="*/ 231642 w 533723"/>
                  <a:gd name="connsiteY21" fmla="*/ 117869 h 415322"/>
                  <a:gd name="connsiteX22" fmla="*/ 245739 w 533723"/>
                  <a:gd name="connsiteY22" fmla="*/ 119960 h 415322"/>
                  <a:gd name="connsiteX23" fmla="*/ 247479 w 533723"/>
                  <a:gd name="connsiteY23" fmla="*/ 117948 h 415322"/>
                  <a:gd name="connsiteX24" fmla="*/ 241439 w 533723"/>
                  <a:gd name="connsiteY24" fmla="*/ 117896 h 415322"/>
                  <a:gd name="connsiteX25" fmla="*/ 231642 w 533723"/>
                  <a:gd name="connsiteY25" fmla="*/ 117869 h 415322"/>
                  <a:gd name="connsiteX26" fmla="*/ 393966 w 533723"/>
                  <a:gd name="connsiteY26" fmla="*/ 59548 h 415322"/>
                  <a:gd name="connsiteX27" fmla="*/ 394760 w 533723"/>
                  <a:gd name="connsiteY27" fmla="*/ 61641 h 415322"/>
                  <a:gd name="connsiteX28" fmla="*/ 396543 w 533723"/>
                  <a:gd name="connsiteY28" fmla="*/ 61922 h 415322"/>
                  <a:gd name="connsiteX29" fmla="*/ 393966 w 533723"/>
                  <a:gd name="connsiteY29" fmla="*/ 59548 h 415322"/>
                  <a:gd name="connsiteX30" fmla="*/ 135290 w 533723"/>
                  <a:gd name="connsiteY30" fmla="*/ 95 h 415322"/>
                  <a:gd name="connsiteX31" fmla="*/ 142002 w 533723"/>
                  <a:gd name="connsiteY31" fmla="*/ 118 h 415322"/>
                  <a:gd name="connsiteX32" fmla="*/ 184247 w 533723"/>
                  <a:gd name="connsiteY32" fmla="*/ 9888 h 415322"/>
                  <a:gd name="connsiteX33" fmla="*/ 237411 w 533723"/>
                  <a:gd name="connsiteY33" fmla="*/ 31727 h 415322"/>
                  <a:gd name="connsiteX34" fmla="*/ 273908 w 533723"/>
                  <a:gd name="connsiteY34" fmla="*/ 50693 h 415322"/>
                  <a:gd name="connsiteX35" fmla="*/ 300993 w 533723"/>
                  <a:gd name="connsiteY35" fmla="*/ 65241 h 415322"/>
                  <a:gd name="connsiteX36" fmla="*/ 313770 w 533723"/>
                  <a:gd name="connsiteY36" fmla="*/ 72415 h 415322"/>
                  <a:gd name="connsiteX37" fmla="*/ 317458 w 533723"/>
                  <a:gd name="connsiteY37" fmla="*/ 74704 h 415322"/>
                  <a:gd name="connsiteX38" fmla="*/ 321989 w 533723"/>
                  <a:gd name="connsiteY38" fmla="*/ 77518 h 415322"/>
                  <a:gd name="connsiteX39" fmla="*/ 328509 w 533723"/>
                  <a:gd name="connsiteY39" fmla="*/ 81728 h 415322"/>
                  <a:gd name="connsiteX40" fmla="*/ 329950 w 533723"/>
                  <a:gd name="connsiteY40" fmla="*/ 82770 h 415322"/>
                  <a:gd name="connsiteX41" fmla="*/ 322786 w 533723"/>
                  <a:gd name="connsiteY41" fmla="*/ 67357 h 415322"/>
                  <a:gd name="connsiteX42" fmla="*/ 318179 w 533723"/>
                  <a:gd name="connsiteY42" fmla="*/ 66024 h 415322"/>
                  <a:gd name="connsiteX43" fmla="*/ 315145 w 533723"/>
                  <a:gd name="connsiteY43" fmla="*/ 65146 h 415322"/>
                  <a:gd name="connsiteX44" fmla="*/ 315984 w 533723"/>
                  <a:gd name="connsiteY44" fmla="*/ 64282 h 415322"/>
                  <a:gd name="connsiteX45" fmla="*/ 336115 w 533723"/>
                  <a:gd name="connsiteY45" fmla="*/ 45493 h 415322"/>
                  <a:gd name="connsiteX46" fmla="*/ 339135 w 533723"/>
                  <a:gd name="connsiteY46" fmla="*/ 43303 h 415322"/>
                  <a:gd name="connsiteX47" fmla="*/ 344556 w 533723"/>
                  <a:gd name="connsiteY47" fmla="*/ 40552 h 415322"/>
                  <a:gd name="connsiteX48" fmla="*/ 348957 w 533723"/>
                  <a:gd name="connsiteY48" fmla="*/ 38760 h 415322"/>
                  <a:gd name="connsiteX49" fmla="*/ 368054 w 533723"/>
                  <a:gd name="connsiteY49" fmla="*/ 34807 h 415322"/>
                  <a:gd name="connsiteX50" fmla="*/ 382234 w 533723"/>
                  <a:gd name="connsiteY50" fmla="*/ 37952 h 415322"/>
                  <a:gd name="connsiteX51" fmla="*/ 390275 w 533723"/>
                  <a:gd name="connsiteY51" fmla="*/ 35652 h 415322"/>
                  <a:gd name="connsiteX52" fmla="*/ 390840 w 533723"/>
                  <a:gd name="connsiteY52" fmla="*/ 35749 h 415322"/>
                  <a:gd name="connsiteX53" fmla="*/ 391575 w 533723"/>
                  <a:gd name="connsiteY53" fmla="*/ 35894 h 415322"/>
                  <a:gd name="connsiteX54" fmla="*/ 391750 w 533723"/>
                  <a:gd name="connsiteY54" fmla="*/ 35955 h 415322"/>
                  <a:gd name="connsiteX55" fmla="*/ 392615 w 533723"/>
                  <a:gd name="connsiteY55" fmla="*/ 36327 h 415322"/>
                  <a:gd name="connsiteX56" fmla="*/ 393242 w 533723"/>
                  <a:gd name="connsiteY56" fmla="*/ 36306 h 415322"/>
                  <a:gd name="connsiteX57" fmla="*/ 393406 w 533723"/>
                  <a:gd name="connsiteY57" fmla="*/ 36317 h 415322"/>
                  <a:gd name="connsiteX58" fmla="*/ 397383 w 533723"/>
                  <a:gd name="connsiteY58" fmla="*/ 37341 h 415322"/>
                  <a:gd name="connsiteX59" fmla="*/ 408367 w 533723"/>
                  <a:gd name="connsiteY59" fmla="*/ 43126 h 415322"/>
                  <a:gd name="connsiteX60" fmla="*/ 459773 w 533723"/>
                  <a:gd name="connsiteY60" fmla="*/ 126491 h 415322"/>
                  <a:gd name="connsiteX61" fmla="*/ 441680 w 533723"/>
                  <a:gd name="connsiteY61" fmla="*/ 188008 h 415322"/>
                  <a:gd name="connsiteX62" fmla="*/ 442553 w 533723"/>
                  <a:gd name="connsiteY62" fmla="*/ 192637 h 415322"/>
                  <a:gd name="connsiteX63" fmla="*/ 443081 w 533723"/>
                  <a:gd name="connsiteY63" fmla="*/ 194875 h 415322"/>
                  <a:gd name="connsiteX64" fmla="*/ 451172 w 533723"/>
                  <a:gd name="connsiteY64" fmla="*/ 201092 h 415322"/>
                  <a:gd name="connsiteX65" fmla="*/ 458953 w 533723"/>
                  <a:gd name="connsiteY65" fmla="*/ 214116 h 415322"/>
                  <a:gd name="connsiteX66" fmla="*/ 459209 w 533723"/>
                  <a:gd name="connsiteY66" fmla="*/ 216161 h 415322"/>
                  <a:gd name="connsiteX67" fmla="*/ 460971 w 533723"/>
                  <a:gd name="connsiteY67" fmla="*/ 219929 h 415322"/>
                  <a:gd name="connsiteX68" fmla="*/ 461361 w 533723"/>
                  <a:gd name="connsiteY68" fmla="*/ 220754 h 415322"/>
                  <a:gd name="connsiteX69" fmla="*/ 470303 w 533723"/>
                  <a:gd name="connsiteY69" fmla="*/ 246015 h 415322"/>
                  <a:gd name="connsiteX70" fmla="*/ 469962 w 533723"/>
                  <a:gd name="connsiteY70" fmla="*/ 245448 h 415322"/>
                  <a:gd name="connsiteX71" fmla="*/ 468971 w 533723"/>
                  <a:gd name="connsiteY71" fmla="*/ 243799 h 415322"/>
                  <a:gd name="connsiteX72" fmla="*/ 464115 w 533723"/>
                  <a:gd name="connsiteY72" fmla="*/ 240660 h 415322"/>
                  <a:gd name="connsiteX73" fmla="*/ 457544 w 533723"/>
                  <a:gd name="connsiteY73" fmla="*/ 239804 h 415322"/>
                  <a:gd name="connsiteX74" fmla="*/ 463829 w 533723"/>
                  <a:gd name="connsiteY74" fmla="*/ 242086 h 415322"/>
                  <a:gd name="connsiteX75" fmla="*/ 469895 w 533723"/>
                  <a:gd name="connsiteY75" fmla="*/ 245979 h 415322"/>
                  <a:gd name="connsiteX76" fmla="*/ 470460 w 533723"/>
                  <a:gd name="connsiteY76" fmla="*/ 246460 h 415322"/>
                  <a:gd name="connsiteX77" fmla="*/ 485321 w 533723"/>
                  <a:gd name="connsiteY77" fmla="*/ 288443 h 415322"/>
                  <a:gd name="connsiteX78" fmla="*/ 485666 w 533723"/>
                  <a:gd name="connsiteY78" fmla="*/ 289289 h 415322"/>
                  <a:gd name="connsiteX79" fmla="*/ 485392 w 533723"/>
                  <a:gd name="connsiteY79" fmla="*/ 285754 h 415322"/>
                  <a:gd name="connsiteX80" fmla="*/ 485409 w 533723"/>
                  <a:gd name="connsiteY80" fmla="*/ 284254 h 415322"/>
                  <a:gd name="connsiteX81" fmla="*/ 485552 w 533723"/>
                  <a:gd name="connsiteY81" fmla="*/ 284634 h 415322"/>
                  <a:gd name="connsiteX82" fmla="*/ 487684 w 533723"/>
                  <a:gd name="connsiteY82" fmla="*/ 290297 h 415322"/>
                  <a:gd name="connsiteX83" fmla="*/ 487716 w 533723"/>
                  <a:gd name="connsiteY83" fmla="*/ 290381 h 415322"/>
                  <a:gd name="connsiteX84" fmla="*/ 487709 w 533723"/>
                  <a:gd name="connsiteY84" fmla="*/ 290382 h 415322"/>
                  <a:gd name="connsiteX85" fmla="*/ 486150 w 533723"/>
                  <a:gd name="connsiteY85" fmla="*/ 290474 h 415322"/>
                  <a:gd name="connsiteX86" fmla="*/ 488742 w 533723"/>
                  <a:gd name="connsiteY86" fmla="*/ 296824 h 415322"/>
                  <a:gd name="connsiteX87" fmla="*/ 494320 w 533723"/>
                  <a:gd name="connsiteY87" fmla="*/ 295556 h 415322"/>
                  <a:gd name="connsiteX88" fmla="*/ 512429 w 533723"/>
                  <a:gd name="connsiteY88" fmla="*/ 291820 h 415322"/>
                  <a:gd name="connsiteX89" fmla="*/ 519005 w 533723"/>
                  <a:gd name="connsiteY89" fmla="*/ 287509 h 415322"/>
                  <a:gd name="connsiteX90" fmla="*/ 520508 w 533723"/>
                  <a:gd name="connsiteY90" fmla="*/ 286839 h 415322"/>
                  <a:gd name="connsiteX91" fmla="*/ 522424 w 533723"/>
                  <a:gd name="connsiteY91" fmla="*/ 286502 h 415322"/>
                  <a:gd name="connsiteX92" fmla="*/ 523091 w 533723"/>
                  <a:gd name="connsiteY92" fmla="*/ 286385 h 415322"/>
                  <a:gd name="connsiteX93" fmla="*/ 525364 w 533723"/>
                  <a:gd name="connsiteY93" fmla="*/ 286646 h 415322"/>
                  <a:gd name="connsiteX94" fmla="*/ 533413 w 533723"/>
                  <a:gd name="connsiteY94" fmla="*/ 297855 h 415322"/>
                  <a:gd name="connsiteX95" fmla="*/ 530826 w 533723"/>
                  <a:gd name="connsiteY95" fmla="*/ 316249 h 415322"/>
                  <a:gd name="connsiteX96" fmla="*/ 530588 w 533723"/>
                  <a:gd name="connsiteY96" fmla="*/ 318085 h 415322"/>
                  <a:gd name="connsiteX97" fmla="*/ 530192 w 533723"/>
                  <a:gd name="connsiteY97" fmla="*/ 320320 h 415322"/>
                  <a:gd name="connsiteX98" fmla="*/ 529838 w 533723"/>
                  <a:gd name="connsiteY98" fmla="*/ 321637 h 415322"/>
                  <a:gd name="connsiteX99" fmla="*/ 526883 w 533723"/>
                  <a:gd name="connsiteY99" fmla="*/ 332653 h 415322"/>
                  <a:gd name="connsiteX100" fmla="*/ 524435 w 533723"/>
                  <a:gd name="connsiteY100" fmla="*/ 341781 h 415322"/>
                  <a:gd name="connsiteX101" fmla="*/ 519934 w 533723"/>
                  <a:gd name="connsiteY101" fmla="*/ 353045 h 415322"/>
                  <a:gd name="connsiteX102" fmla="*/ 493458 w 533723"/>
                  <a:gd name="connsiteY102" fmla="*/ 392987 h 415322"/>
                  <a:gd name="connsiteX103" fmla="*/ 421143 w 533723"/>
                  <a:gd name="connsiteY103" fmla="*/ 403455 h 415322"/>
                  <a:gd name="connsiteX104" fmla="*/ 416615 w 533723"/>
                  <a:gd name="connsiteY104" fmla="*/ 401105 h 415322"/>
                  <a:gd name="connsiteX105" fmla="*/ 403771 w 533723"/>
                  <a:gd name="connsiteY105" fmla="*/ 393322 h 415322"/>
                  <a:gd name="connsiteX106" fmla="*/ 381629 w 533723"/>
                  <a:gd name="connsiteY106" fmla="*/ 410745 h 415322"/>
                  <a:gd name="connsiteX107" fmla="*/ 364512 w 533723"/>
                  <a:gd name="connsiteY107" fmla="*/ 414388 h 415322"/>
                  <a:gd name="connsiteX108" fmla="*/ 362260 w 533723"/>
                  <a:gd name="connsiteY108" fmla="*/ 412847 h 415322"/>
                  <a:gd name="connsiteX109" fmla="*/ 359508 w 533723"/>
                  <a:gd name="connsiteY109" fmla="*/ 412530 h 415322"/>
                  <a:gd name="connsiteX110" fmla="*/ 354180 w 533723"/>
                  <a:gd name="connsiteY110" fmla="*/ 409493 h 415322"/>
                  <a:gd name="connsiteX111" fmla="*/ 351263 w 533723"/>
                  <a:gd name="connsiteY111" fmla="*/ 406931 h 415322"/>
                  <a:gd name="connsiteX112" fmla="*/ 351015 w 533723"/>
                  <a:gd name="connsiteY112" fmla="*/ 406713 h 415322"/>
                  <a:gd name="connsiteX113" fmla="*/ 348397 w 533723"/>
                  <a:gd name="connsiteY113" fmla="*/ 403432 h 415322"/>
                  <a:gd name="connsiteX114" fmla="*/ 347445 w 533723"/>
                  <a:gd name="connsiteY114" fmla="*/ 401927 h 415322"/>
                  <a:gd name="connsiteX115" fmla="*/ 345319 w 533723"/>
                  <a:gd name="connsiteY115" fmla="*/ 397536 h 415322"/>
                  <a:gd name="connsiteX116" fmla="*/ 344561 w 533723"/>
                  <a:gd name="connsiteY116" fmla="*/ 395286 h 415322"/>
                  <a:gd name="connsiteX117" fmla="*/ 335650 w 533723"/>
                  <a:gd name="connsiteY117" fmla="*/ 375455 h 415322"/>
                  <a:gd name="connsiteX118" fmla="*/ 322714 w 533723"/>
                  <a:gd name="connsiteY118" fmla="*/ 362234 h 415322"/>
                  <a:gd name="connsiteX119" fmla="*/ 319648 w 533723"/>
                  <a:gd name="connsiteY119" fmla="*/ 358159 h 415322"/>
                  <a:gd name="connsiteX120" fmla="*/ 319434 w 533723"/>
                  <a:gd name="connsiteY120" fmla="*/ 357823 h 415322"/>
                  <a:gd name="connsiteX121" fmla="*/ 314734 w 533723"/>
                  <a:gd name="connsiteY121" fmla="*/ 350455 h 415322"/>
                  <a:gd name="connsiteX122" fmla="*/ 319052 w 533723"/>
                  <a:gd name="connsiteY122" fmla="*/ 316733 h 415322"/>
                  <a:gd name="connsiteX123" fmla="*/ 323333 w 533723"/>
                  <a:gd name="connsiteY123" fmla="*/ 310656 h 415322"/>
                  <a:gd name="connsiteX124" fmla="*/ 320679 w 533723"/>
                  <a:gd name="connsiteY124" fmla="*/ 310837 h 415322"/>
                  <a:gd name="connsiteX125" fmla="*/ 316984 w 533723"/>
                  <a:gd name="connsiteY125" fmla="*/ 309959 h 415322"/>
                  <a:gd name="connsiteX126" fmla="*/ 278469 w 533723"/>
                  <a:gd name="connsiteY126" fmla="*/ 281787 h 415322"/>
                  <a:gd name="connsiteX127" fmla="*/ 279196 w 533723"/>
                  <a:gd name="connsiteY127" fmla="*/ 221148 h 415322"/>
                  <a:gd name="connsiteX128" fmla="*/ 281137 w 533723"/>
                  <a:gd name="connsiteY128" fmla="*/ 212759 h 415322"/>
                  <a:gd name="connsiteX129" fmla="*/ 280817 w 533723"/>
                  <a:gd name="connsiteY129" fmla="*/ 212855 h 415322"/>
                  <a:gd name="connsiteX130" fmla="*/ 280074 w 533723"/>
                  <a:gd name="connsiteY130" fmla="*/ 213019 h 415322"/>
                  <a:gd name="connsiteX131" fmla="*/ 208386 w 533723"/>
                  <a:gd name="connsiteY131" fmla="*/ 230868 h 415322"/>
                  <a:gd name="connsiteX132" fmla="*/ 129358 w 533723"/>
                  <a:gd name="connsiteY132" fmla="*/ 256155 h 415322"/>
                  <a:gd name="connsiteX133" fmla="*/ 76481 w 533723"/>
                  <a:gd name="connsiteY133" fmla="*/ 253856 h 415322"/>
                  <a:gd name="connsiteX134" fmla="*/ 56365 w 533723"/>
                  <a:gd name="connsiteY134" fmla="*/ 204718 h 415322"/>
                  <a:gd name="connsiteX135" fmla="*/ 6361 w 533723"/>
                  <a:gd name="connsiteY135" fmla="*/ 145234 h 415322"/>
                  <a:gd name="connsiteX136" fmla="*/ 4924 w 533723"/>
                  <a:gd name="connsiteY136" fmla="*/ 90923 h 415322"/>
                  <a:gd name="connsiteX137" fmla="*/ 26190 w 533723"/>
                  <a:gd name="connsiteY137" fmla="*/ 62762 h 415322"/>
                  <a:gd name="connsiteX138" fmla="*/ 51192 w 533723"/>
                  <a:gd name="connsiteY138" fmla="*/ 63624 h 415322"/>
                  <a:gd name="connsiteX139" fmla="*/ 92574 w 533723"/>
                  <a:gd name="connsiteY139" fmla="*/ 72245 h 415322"/>
                  <a:gd name="connsiteX140" fmla="*/ 148899 w 533723"/>
                  <a:gd name="connsiteY140" fmla="*/ 97533 h 415322"/>
                  <a:gd name="connsiteX141" fmla="*/ 100620 w 533723"/>
                  <a:gd name="connsiteY141" fmla="*/ 70233 h 415322"/>
                  <a:gd name="connsiteX142" fmla="*/ 68722 w 533723"/>
                  <a:gd name="connsiteY142" fmla="*/ 57877 h 415322"/>
                  <a:gd name="connsiteX143" fmla="*/ 95735 w 533723"/>
                  <a:gd name="connsiteY143" fmla="*/ 33739 h 415322"/>
                  <a:gd name="connsiteX144" fmla="*/ 118438 w 533723"/>
                  <a:gd name="connsiteY144" fmla="*/ 6440 h 415322"/>
                  <a:gd name="connsiteX145" fmla="*/ 135290 w 533723"/>
                  <a:gd name="connsiteY145" fmla="*/ 95 h 4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33723" h="415322">
                    <a:moveTo>
                      <a:pt x="528506" y="291832"/>
                    </a:moveTo>
                    <a:cubicBezTo>
                      <a:pt x="528506" y="291832"/>
                      <a:pt x="516154" y="299584"/>
                      <a:pt x="510121" y="300446"/>
                    </a:cubicBezTo>
                    <a:cubicBezTo>
                      <a:pt x="507105" y="300877"/>
                      <a:pt x="504089" y="302097"/>
                      <a:pt x="500354" y="302312"/>
                    </a:cubicBezTo>
                    <a:lnTo>
                      <a:pt x="489695" y="299159"/>
                    </a:lnTo>
                    <a:lnTo>
                      <a:pt x="490953" y="302242"/>
                    </a:lnTo>
                    <a:cubicBezTo>
                      <a:pt x="490911" y="302346"/>
                      <a:pt x="490868" y="302450"/>
                      <a:pt x="490826" y="302554"/>
                    </a:cubicBezTo>
                    <a:lnTo>
                      <a:pt x="497481" y="306188"/>
                    </a:lnTo>
                    <a:cubicBezTo>
                      <a:pt x="502940" y="306475"/>
                      <a:pt x="505812" y="305901"/>
                      <a:pt x="505812" y="305901"/>
                    </a:cubicBezTo>
                    <a:cubicBezTo>
                      <a:pt x="517015" y="304465"/>
                      <a:pt x="521899" y="299010"/>
                      <a:pt x="523335" y="297575"/>
                    </a:cubicBezTo>
                    <a:cubicBezTo>
                      <a:pt x="525059" y="296426"/>
                      <a:pt x="528506" y="291832"/>
                      <a:pt x="528506" y="291832"/>
                    </a:cubicBezTo>
                    <a:close/>
                    <a:moveTo>
                      <a:pt x="459095" y="214354"/>
                    </a:moveTo>
                    <a:lnTo>
                      <a:pt x="470185" y="232917"/>
                    </a:lnTo>
                    <a:lnTo>
                      <a:pt x="469083" y="236710"/>
                    </a:lnTo>
                    <a:lnTo>
                      <a:pt x="465107" y="228628"/>
                    </a:lnTo>
                    <a:cubicBezTo>
                      <a:pt x="464316" y="226985"/>
                      <a:pt x="463551" y="225384"/>
                      <a:pt x="462850" y="223907"/>
                    </a:cubicBezTo>
                    <a:lnTo>
                      <a:pt x="461361" y="220754"/>
                    </a:lnTo>
                    <a:lnTo>
                      <a:pt x="459095" y="214354"/>
                    </a:lnTo>
                    <a:close/>
                    <a:moveTo>
                      <a:pt x="458921" y="213862"/>
                    </a:moveTo>
                    <a:lnTo>
                      <a:pt x="459095" y="214354"/>
                    </a:lnTo>
                    <a:lnTo>
                      <a:pt x="458953" y="214116"/>
                    </a:lnTo>
                    <a:cubicBezTo>
                      <a:pt x="458942" y="214031"/>
                      <a:pt x="458932" y="213947"/>
                      <a:pt x="458921" y="213862"/>
                    </a:cubicBezTo>
                    <a:close/>
                    <a:moveTo>
                      <a:pt x="231642" y="117869"/>
                    </a:moveTo>
                    <a:lnTo>
                      <a:pt x="245739" y="119960"/>
                    </a:lnTo>
                    <a:lnTo>
                      <a:pt x="247479" y="117948"/>
                    </a:lnTo>
                    <a:lnTo>
                      <a:pt x="241439" y="117896"/>
                    </a:lnTo>
                    <a:lnTo>
                      <a:pt x="231642" y="117869"/>
                    </a:lnTo>
                    <a:close/>
                    <a:moveTo>
                      <a:pt x="393966" y="59548"/>
                    </a:moveTo>
                    <a:lnTo>
                      <a:pt x="394760" y="61641"/>
                    </a:lnTo>
                    <a:lnTo>
                      <a:pt x="396543" y="61922"/>
                    </a:lnTo>
                    <a:lnTo>
                      <a:pt x="393966" y="59548"/>
                    </a:lnTo>
                    <a:close/>
                    <a:moveTo>
                      <a:pt x="135290" y="95"/>
                    </a:moveTo>
                    <a:cubicBezTo>
                      <a:pt x="137297" y="-44"/>
                      <a:pt x="139488" y="-26"/>
                      <a:pt x="142002" y="118"/>
                    </a:cubicBezTo>
                    <a:cubicBezTo>
                      <a:pt x="151773" y="692"/>
                      <a:pt x="171890" y="5290"/>
                      <a:pt x="184247" y="9888"/>
                    </a:cubicBezTo>
                    <a:cubicBezTo>
                      <a:pt x="196604" y="14198"/>
                      <a:pt x="225916" y="24831"/>
                      <a:pt x="237411" y="31727"/>
                    </a:cubicBezTo>
                    <a:cubicBezTo>
                      <a:pt x="250056" y="38911"/>
                      <a:pt x="261551" y="43509"/>
                      <a:pt x="273908" y="50693"/>
                    </a:cubicBezTo>
                    <a:cubicBezTo>
                      <a:pt x="280230" y="54285"/>
                      <a:pt x="290576" y="59601"/>
                      <a:pt x="300993" y="65241"/>
                    </a:cubicBezTo>
                    <a:lnTo>
                      <a:pt x="313770" y="72415"/>
                    </a:lnTo>
                    <a:lnTo>
                      <a:pt x="317458" y="74704"/>
                    </a:lnTo>
                    <a:lnTo>
                      <a:pt x="321989" y="77518"/>
                    </a:lnTo>
                    <a:lnTo>
                      <a:pt x="328509" y="81728"/>
                    </a:lnTo>
                    <a:lnTo>
                      <a:pt x="329950" y="82770"/>
                    </a:lnTo>
                    <a:lnTo>
                      <a:pt x="322786" y="67357"/>
                    </a:lnTo>
                    <a:lnTo>
                      <a:pt x="318179" y="66024"/>
                    </a:lnTo>
                    <a:lnTo>
                      <a:pt x="315145" y="65146"/>
                    </a:lnTo>
                    <a:lnTo>
                      <a:pt x="315984" y="64282"/>
                    </a:lnTo>
                    <a:cubicBezTo>
                      <a:pt x="319030" y="61163"/>
                      <a:pt x="328778" y="51321"/>
                      <a:pt x="336115" y="45493"/>
                    </a:cubicBezTo>
                    <a:lnTo>
                      <a:pt x="339135" y="43303"/>
                    </a:lnTo>
                    <a:lnTo>
                      <a:pt x="344556" y="40552"/>
                    </a:lnTo>
                    <a:lnTo>
                      <a:pt x="348957" y="38760"/>
                    </a:lnTo>
                    <a:cubicBezTo>
                      <a:pt x="353552" y="36748"/>
                      <a:pt x="359726" y="34376"/>
                      <a:pt x="368054" y="34807"/>
                    </a:cubicBezTo>
                    <a:cubicBezTo>
                      <a:pt x="372219" y="35023"/>
                      <a:pt x="376921" y="35939"/>
                      <a:pt x="382234" y="37952"/>
                    </a:cubicBezTo>
                    <a:cubicBezTo>
                      <a:pt x="403198" y="46001"/>
                      <a:pt x="390275" y="35652"/>
                      <a:pt x="390275" y="35652"/>
                    </a:cubicBezTo>
                    <a:cubicBezTo>
                      <a:pt x="390275" y="35652"/>
                      <a:pt x="390477" y="35683"/>
                      <a:pt x="390840" y="35749"/>
                    </a:cubicBezTo>
                    <a:lnTo>
                      <a:pt x="391575" y="35894"/>
                    </a:lnTo>
                    <a:lnTo>
                      <a:pt x="391750" y="35955"/>
                    </a:lnTo>
                    <a:cubicBezTo>
                      <a:pt x="392319" y="36184"/>
                      <a:pt x="392615" y="36327"/>
                      <a:pt x="392615" y="36327"/>
                    </a:cubicBezTo>
                    <a:cubicBezTo>
                      <a:pt x="392615" y="36327"/>
                      <a:pt x="392831" y="36305"/>
                      <a:pt x="393242" y="36306"/>
                    </a:cubicBezTo>
                    <a:lnTo>
                      <a:pt x="393406" y="36317"/>
                    </a:lnTo>
                    <a:lnTo>
                      <a:pt x="397383" y="37341"/>
                    </a:lnTo>
                    <a:cubicBezTo>
                      <a:pt x="401260" y="38527"/>
                      <a:pt x="405783" y="40395"/>
                      <a:pt x="408367" y="43126"/>
                    </a:cubicBezTo>
                    <a:cubicBezTo>
                      <a:pt x="413537" y="48875"/>
                      <a:pt x="463219" y="96019"/>
                      <a:pt x="459773" y="126491"/>
                    </a:cubicBezTo>
                    <a:cubicBezTo>
                      <a:pt x="457762" y="144888"/>
                      <a:pt x="440819" y="179671"/>
                      <a:pt x="441680" y="188008"/>
                    </a:cubicBezTo>
                    <a:cubicBezTo>
                      <a:pt x="441860" y="189266"/>
                      <a:pt x="442165" y="190853"/>
                      <a:pt x="442553" y="192637"/>
                    </a:cubicBezTo>
                    <a:lnTo>
                      <a:pt x="443081" y="194875"/>
                    </a:lnTo>
                    <a:lnTo>
                      <a:pt x="451172" y="201092"/>
                    </a:lnTo>
                    <a:lnTo>
                      <a:pt x="458953" y="214116"/>
                    </a:lnTo>
                    <a:cubicBezTo>
                      <a:pt x="459038" y="214798"/>
                      <a:pt x="459124" y="215479"/>
                      <a:pt x="459209" y="216161"/>
                    </a:cubicBezTo>
                    <a:cubicBezTo>
                      <a:pt x="459209" y="216161"/>
                      <a:pt x="459892" y="217634"/>
                      <a:pt x="460971" y="219929"/>
                    </a:cubicBezTo>
                    <a:lnTo>
                      <a:pt x="461361" y="220754"/>
                    </a:lnTo>
                    <a:lnTo>
                      <a:pt x="470303" y="246015"/>
                    </a:lnTo>
                    <a:lnTo>
                      <a:pt x="469962" y="245448"/>
                    </a:lnTo>
                    <a:lnTo>
                      <a:pt x="468971" y="243799"/>
                    </a:lnTo>
                    <a:cubicBezTo>
                      <a:pt x="468971" y="243799"/>
                      <a:pt x="466400" y="241516"/>
                      <a:pt x="464115" y="240660"/>
                    </a:cubicBezTo>
                    <a:cubicBezTo>
                      <a:pt x="461829" y="239518"/>
                      <a:pt x="457544" y="239804"/>
                      <a:pt x="457544" y="239804"/>
                    </a:cubicBezTo>
                    <a:cubicBezTo>
                      <a:pt x="457544" y="239804"/>
                      <a:pt x="461829" y="241516"/>
                      <a:pt x="463829" y="242086"/>
                    </a:cubicBezTo>
                    <a:cubicBezTo>
                      <a:pt x="465329" y="242300"/>
                      <a:pt x="468435" y="244762"/>
                      <a:pt x="469895" y="245979"/>
                    </a:cubicBezTo>
                    <a:lnTo>
                      <a:pt x="470460" y="246460"/>
                    </a:lnTo>
                    <a:lnTo>
                      <a:pt x="485321" y="288443"/>
                    </a:lnTo>
                    <a:lnTo>
                      <a:pt x="485666" y="289289"/>
                    </a:lnTo>
                    <a:cubicBezTo>
                      <a:pt x="485575" y="288111"/>
                      <a:pt x="485483" y="286932"/>
                      <a:pt x="485392" y="285754"/>
                    </a:cubicBezTo>
                    <a:cubicBezTo>
                      <a:pt x="485398" y="285254"/>
                      <a:pt x="485403" y="284754"/>
                      <a:pt x="485409" y="284254"/>
                    </a:cubicBezTo>
                    <a:cubicBezTo>
                      <a:pt x="485457" y="284381"/>
                      <a:pt x="485504" y="284507"/>
                      <a:pt x="485552" y="284634"/>
                    </a:cubicBezTo>
                    <a:lnTo>
                      <a:pt x="487684" y="290297"/>
                    </a:lnTo>
                    <a:cubicBezTo>
                      <a:pt x="487695" y="290325"/>
                      <a:pt x="487705" y="290353"/>
                      <a:pt x="487716" y="290381"/>
                    </a:cubicBezTo>
                    <a:cubicBezTo>
                      <a:pt x="487714" y="290381"/>
                      <a:pt x="487711" y="290382"/>
                      <a:pt x="487709" y="290382"/>
                    </a:cubicBezTo>
                    <a:lnTo>
                      <a:pt x="486150" y="290474"/>
                    </a:lnTo>
                    <a:lnTo>
                      <a:pt x="488742" y="296824"/>
                    </a:lnTo>
                    <a:lnTo>
                      <a:pt x="494320" y="295556"/>
                    </a:lnTo>
                    <a:cubicBezTo>
                      <a:pt x="500644" y="296131"/>
                      <a:pt x="506393" y="294406"/>
                      <a:pt x="512429" y="291820"/>
                    </a:cubicBezTo>
                    <a:cubicBezTo>
                      <a:pt x="515304" y="290526"/>
                      <a:pt x="517172" y="288730"/>
                      <a:pt x="519005" y="287509"/>
                    </a:cubicBezTo>
                    <a:lnTo>
                      <a:pt x="520508" y="286839"/>
                    </a:lnTo>
                    <a:lnTo>
                      <a:pt x="522424" y="286502"/>
                    </a:lnTo>
                    <a:lnTo>
                      <a:pt x="523091" y="286385"/>
                    </a:lnTo>
                    <a:lnTo>
                      <a:pt x="525364" y="286646"/>
                    </a:lnTo>
                    <a:cubicBezTo>
                      <a:pt x="530826" y="288371"/>
                      <a:pt x="531976" y="291532"/>
                      <a:pt x="533413" y="297855"/>
                    </a:cubicBezTo>
                    <a:cubicBezTo>
                      <a:pt x="534850" y="304178"/>
                      <a:pt x="530826" y="316249"/>
                      <a:pt x="530826" y="316249"/>
                    </a:cubicBezTo>
                    <a:cubicBezTo>
                      <a:pt x="530826" y="316249"/>
                      <a:pt x="530763" y="316891"/>
                      <a:pt x="530588" y="318085"/>
                    </a:cubicBezTo>
                    <a:lnTo>
                      <a:pt x="530192" y="320320"/>
                    </a:lnTo>
                    <a:lnTo>
                      <a:pt x="529838" y="321637"/>
                    </a:lnTo>
                    <a:lnTo>
                      <a:pt x="526883" y="332653"/>
                    </a:lnTo>
                    <a:lnTo>
                      <a:pt x="524435" y="341781"/>
                    </a:lnTo>
                    <a:lnTo>
                      <a:pt x="519934" y="353045"/>
                    </a:lnTo>
                    <a:cubicBezTo>
                      <a:pt x="514343" y="365490"/>
                      <a:pt x="505962" y="379622"/>
                      <a:pt x="493458" y="392987"/>
                    </a:cubicBezTo>
                    <a:cubicBezTo>
                      <a:pt x="468666" y="419716"/>
                      <a:pt x="437567" y="410878"/>
                      <a:pt x="421143" y="403455"/>
                    </a:cubicBezTo>
                    <a:lnTo>
                      <a:pt x="416615" y="401105"/>
                    </a:lnTo>
                    <a:cubicBezTo>
                      <a:pt x="416179" y="402174"/>
                      <a:pt x="404207" y="392253"/>
                      <a:pt x="403771" y="393322"/>
                    </a:cubicBezTo>
                    <a:cubicBezTo>
                      <a:pt x="395387" y="401831"/>
                      <a:pt x="388172" y="407234"/>
                      <a:pt x="381629" y="410745"/>
                    </a:cubicBezTo>
                    <a:cubicBezTo>
                      <a:pt x="375086" y="414256"/>
                      <a:pt x="370055" y="416767"/>
                      <a:pt x="364512" y="414388"/>
                    </a:cubicBezTo>
                    <a:lnTo>
                      <a:pt x="362260" y="412847"/>
                    </a:lnTo>
                    <a:lnTo>
                      <a:pt x="359508" y="412530"/>
                    </a:lnTo>
                    <a:lnTo>
                      <a:pt x="354180" y="409493"/>
                    </a:lnTo>
                    <a:lnTo>
                      <a:pt x="351263" y="406931"/>
                    </a:lnTo>
                    <a:lnTo>
                      <a:pt x="351015" y="406713"/>
                    </a:lnTo>
                    <a:lnTo>
                      <a:pt x="348397" y="403432"/>
                    </a:lnTo>
                    <a:lnTo>
                      <a:pt x="347445" y="401927"/>
                    </a:lnTo>
                    <a:lnTo>
                      <a:pt x="345319" y="397536"/>
                    </a:lnTo>
                    <a:cubicBezTo>
                      <a:pt x="344794" y="396166"/>
                      <a:pt x="344561" y="395286"/>
                      <a:pt x="344561" y="395286"/>
                    </a:cubicBezTo>
                    <a:lnTo>
                      <a:pt x="335650" y="375455"/>
                    </a:lnTo>
                    <a:cubicBezTo>
                      <a:pt x="335650" y="375455"/>
                      <a:pt x="327314" y="367408"/>
                      <a:pt x="322714" y="362234"/>
                    </a:cubicBezTo>
                    <a:lnTo>
                      <a:pt x="319648" y="358159"/>
                    </a:lnTo>
                    <a:lnTo>
                      <a:pt x="319434" y="357823"/>
                    </a:lnTo>
                    <a:lnTo>
                      <a:pt x="314734" y="350455"/>
                    </a:lnTo>
                    <a:cubicBezTo>
                      <a:pt x="314734" y="350455"/>
                      <a:pt x="310334" y="332411"/>
                      <a:pt x="319052" y="316733"/>
                    </a:cubicBezTo>
                    <a:lnTo>
                      <a:pt x="323333" y="310656"/>
                    </a:lnTo>
                    <a:lnTo>
                      <a:pt x="320679" y="310837"/>
                    </a:lnTo>
                    <a:cubicBezTo>
                      <a:pt x="319405" y="310763"/>
                      <a:pt x="318170" y="310498"/>
                      <a:pt x="316984" y="309959"/>
                    </a:cubicBezTo>
                    <a:cubicBezTo>
                      <a:pt x="307787" y="305647"/>
                      <a:pt x="281056" y="298172"/>
                      <a:pt x="278469" y="281787"/>
                    </a:cubicBezTo>
                    <a:cubicBezTo>
                      <a:pt x="276529" y="269497"/>
                      <a:pt x="275235" y="243140"/>
                      <a:pt x="279196" y="221148"/>
                    </a:cubicBezTo>
                    <a:lnTo>
                      <a:pt x="281137" y="212759"/>
                    </a:lnTo>
                    <a:lnTo>
                      <a:pt x="280817" y="212855"/>
                    </a:lnTo>
                    <a:lnTo>
                      <a:pt x="280074" y="213019"/>
                    </a:lnTo>
                    <a:cubicBezTo>
                      <a:pt x="269049" y="215467"/>
                      <a:pt x="223976" y="225587"/>
                      <a:pt x="208386" y="230868"/>
                    </a:cubicBezTo>
                    <a:cubicBezTo>
                      <a:pt x="190569" y="236902"/>
                      <a:pt x="148612" y="256155"/>
                      <a:pt x="129358" y="256155"/>
                    </a:cubicBezTo>
                    <a:cubicBezTo>
                      <a:pt x="102632" y="255868"/>
                      <a:pt x="76481" y="253856"/>
                      <a:pt x="76481" y="253856"/>
                    </a:cubicBezTo>
                    <a:cubicBezTo>
                      <a:pt x="76481" y="253856"/>
                      <a:pt x="66710" y="217649"/>
                      <a:pt x="56365" y="204718"/>
                    </a:cubicBezTo>
                    <a:cubicBezTo>
                      <a:pt x="45732" y="191787"/>
                      <a:pt x="12971" y="165062"/>
                      <a:pt x="6361" y="145234"/>
                    </a:cubicBezTo>
                    <a:cubicBezTo>
                      <a:pt x="39" y="125119"/>
                      <a:pt x="-3409" y="109027"/>
                      <a:pt x="4924" y="90923"/>
                    </a:cubicBezTo>
                    <a:cubicBezTo>
                      <a:pt x="12971" y="73107"/>
                      <a:pt x="26190" y="62762"/>
                      <a:pt x="26190" y="62762"/>
                    </a:cubicBezTo>
                    <a:lnTo>
                      <a:pt x="51192" y="63624"/>
                    </a:lnTo>
                    <a:cubicBezTo>
                      <a:pt x="62399" y="65061"/>
                      <a:pt x="80217" y="68222"/>
                      <a:pt x="92574" y="72245"/>
                    </a:cubicBezTo>
                    <a:cubicBezTo>
                      <a:pt x="104644" y="76268"/>
                      <a:pt x="148899" y="97533"/>
                      <a:pt x="148899" y="97533"/>
                    </a:cubicBezTo>
                    <a:lnTo>
                      <a:pt x="100620" y="70233"/>
                    </a:lnTo>
                    <a:lnTo>
                      <a:pt x="68722" y="57877"/>
                    </a:lnTo>
                    <a:cubicBezTo>
                      <a:pt x="68722" y="57877"/>
                      <a:pt x="82803" y="49544"/>
                      <a:pt x="95735" y="33739"/>
                    </a:cubicBezTo>
                    <a:cubicBezTo>
                      <a:pt x="108667" y="17934"/>
                      <a:pt x="109816" y="12187"/>
                      <a:pt x="118438" y="6440"/>
                    </a:cubicBezTo>
                    <a:cubicBezTo>
                      <a:pt x="124904" y="2345"/>
                      <a:pt x="129268" y="513"/>
                      <a:pt x="135290" y="95"/>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sp>
            <p:nvSpPr>
              <p:cNvPr id="24" name="Freeform 23"/>
              <p:cNvSpPr>
                <a:spLocks/>
              </p:cNvSpPr>
              <p:nvPr/>
            </p:nvSpPr>
            <p:spPr bwMode="auto">
              <a:xfrm>
                <a:off x="1203881" y="3576757"/>
                <a:ext cx="290830" cy="297796"/>
              </a:xfrm>
              <a:custGeom>
                <a:avLst/>
                <a:gdLst>
                  <a:gd name="connsiteX0" fmla="*/ 1222186 w 2129049"/>
                  <a:gd name="connsiteY0" fmla="*/ 1839320 h 2180047"/>
                  <a:gd name="connsiteX1" fmla="*/ 1208400 w 2129049"/>
                  <a:gd name="connsiteY1" fmla="*/ 1841119 h 2180047"/>
                  <a:gd name="connsiteX2" fmla="*/ 1186099 w 2129049"/>
                  <a:gd name="connsiteY2" fmla="*/ 1843640 h 2180047"/>
                  <a:gd name="connsiteX3" fmla="*/ 1188379 w 2129049"/>
                  <a:gd name="connsiteY3" fmla="*/ 1844841 h 2180047"/>
                  <a:gd name="connsiteX4" fmla="*/ 1243194 w 2129049"/>
                  <a:gd name="connsiteY4" fmla="*/ 1939957 h 2180047"/>
                  <a:gd name="connsiteX5" fmla="*/ 1223702 w 2129049"/>
                  <a:gd name="connsiteY5" fmla="*/ 1853174 h 2180047"/>
                  <a:gd name="connsiteX6" fmla="*/ 1222569 w 2129049"/>
                  <a:gd name="connsiteY6" fmla="*/ 1839342 h 2180047"/>
                  <a:gd name="connsiteX7" fmla="*/ 441891 w 2129049"/>
                  <a:gd name="connsiteY7" fmla="*/ 1746105 h 2180047"/>
                  <a:gd name="connsiteX8" fmla="*/ 450977 w 2129049"/>
                  <a:gd name="connsiteY8" fmla="*/ 1757606 h 2180047"/>
                  <a:gd name="connsiteX9" fmla="*/ 707370 w 2129049"/>
                  <a:gd name="connsiteY9" fmla="*/ 1976776 h 2180047"/>
                  <a:gd name="connsiteX10" fmla="*/ 766453 w 2129049"/>
                  <a:gd name="connsiteY10" fmla="*/ 2010648 h 2180047"/>
                  <a:gd name="connsiteX11" fmla="*/ 831225 w 2129049"/>
                  <a:gd name="connsiteY11" fmla="*/ 2015356 h 2180047"/>
                  <a:gd name="connsiteX12" fmla="*/ 999836 w 2129049"/>
                  <a:gd name="connsiteY12" fmla="*/ 2014732 h 2180047"/>
                  <a:gd name="connsiteX13" fmla="*/ 1033552 w 2129049"/>
                  <a:gd name="connsiteY13" fmla="*/ 2011934 h 2180047"/>
                  <a:gd name="connsiteX14" fmla="*/ 1030508 w 2129049"/>
                  <a:gd name="connsiteY14" fmla="*/ 1991231 h 2180047"/>
                  <a:gd name="connsiteX15" fmla="*/ 1069280 w 2129049"/>
                  <a:gd name="connsiteY15" fmla="*/ 1869985 h 2180047"/>
                  <a:gd name="connsiteX16" fmla="*/ 1086998 w 2129049"/>
                  <a:gd name="connsiteY16" fmla="*/ 1852207 h 2180047"/>
                  <a:gd name="connsiteX17" fmla="*/ 1040249 w 2129049"/>
                  <a:gd name="connsiteY17" fmla="*/ 1855089 h 2180047"/>
                  <a:gd name="connsiteX18" fmla="*/ 700561 w 2129049"/>
                  <a:gd name="connsiteY18" fmla="*/ 1833012 h 2180047"/>
                  <a:gd name="connsiteX19" fmla="*/ 442094 w 2129049"/>
                  <a:gd name="connsiteY19" fmla="*/ 1746192 h 2180047"/>
                  <a:gd name="connsiteX20" fmla="*/ 1059954 w 2129049"/>
                  <a:gd name="connsiteY20" fmla="*/ 1504433 h 2180047"/>
                  <a:gd name="connsiteX21" fmla="*/ 1137935 w 2129049"/>
                  <a:gd name="connsiteY21" fmla="*/ 1553560 h 2180047"/>
                  <a:gd name="connsiteX22" fmla="*/ 1232714 w 2129049"/>
                  <a:gd name="connsiteY22" fmla="*/ 1597039 h 2180047"/>
                  <a:gd name="connsiteX23" fmla="*/ 1498003 w 2129049"/>
                  <a:gd name="connsiteY23" fmla="*/ 1620193 h 2180047"/>
                  <a:gd name="connsiteX24" fmla="*/ 1417995 w 2129049"/>
                  <a:gd name="connsiteY24" fmla="*/ 1660186 h 2180047"/>
                  <a:gd name="connsiteX25" fmla="*/ 1260085 w 2129049"/>
                  <a:gd name="connsiteY25" fmla="*/ 1660186 h 2180047"/>
                  <a:gd name="connsiteX26" fmla="*/ 1110597 w 2129049"/>
                  <a:gd name="connsiteY26" fmla="*/ 1640189 h 2180047"/>
                  <a:gd name="connsiteX27" fmla="*/ 1099046 w 2129049"/>
                  <a:gd name="connsiteY27" fmla="*/ 1638682 h 2180047"/>
                  <a:gd name="connsiteX28" fmla="*/ 251840 w 2129049"/>
                  <a:gd name="connsiteY28" fmla="*/ 316333 h 2180047"/>
                  <a:gd name="connsiteX29" fmla="*/ 246796 w 2129049"/>
                  <a:gd name="connsiteY29" fmla="*/ 329846 h 2180047"/>
                  <a:gd name="connsiteX30" fmla="*/ 161902 w 2129049"/>
                  <a:gd name="connsiteY30" fmla="*/ 686152 h 2180047"/>
                  <a:gd name="connsiteX31" fmla="*/ 163319 w 2129049"/>
                  <a:gd name="connsiteY31" fmla="*/ 765157 h 2180047"/>
                  <a:gd name="connsiteX32" fmla="*/ 168120 w 2129049"/>
                  <a:gd name="connsiteY32" fmla="*/ 772124 h 2180047"/>
                  <a:gd name="connsiteX33" fmla="*/ 462568 w 2129049"/>
                  <a:gd name="connsiteY33" fmla="*/ 1054574 h 2180047"/>
                  <a:gd name="connsiteX34" fmla="*/ 1083519 w 2129049"/>
                  <a:gd name="connsiteY34" fmla="*/ 1296666 h 2180047"/>
                  <a:gd name="connsiteX35" fmla="*/ 1112988 w 2129049"/>
                  <a:gd name="connsiteY35" fmla="*/ 1212460 h 2180047"/>
                  <a:gd name="connsiteX36" fmla="*/ 635171 w 2129049"/>
                  <a:gd name="connsiteY36" fmla="*/ 913528 h 2180047"/>
                  <a:gd name="connsiteX37" fmla="*/ 256327 w 2129049"/>
                  <a:gd name="connsiteY37" fmla="*/ 344726 h 2180047"/>
                  <a:gd name="connsiteX38" fmla="*/ 203697 w 2129049"/>
                  <a:gd name="connsiteY38" fmla="*/ 216555 h 2180047"/>
                  <a:gd name="connsiteX39" fmla="*/ 195507 w 2129049"/>
                  <a:gd name="connsiteY39" fmla="*/ 224152 h 2180047"/>
                  <a:gd name="connsiteX40" fmla="*/ 153435 w 2129049"/>
                  <a:gd name="connsiteY40" fmla="*/ 280530 h 2180047"/>
                  <a:gd name="connsiteX41" fmla="*/ 119142 w 2129049"/>
                  <a:gd name="connsiteY41" fmla="*/ 338248 h 2180047"/>
                  <a:gd name="connsiteX42" fmla="*/ 162420 w 2129049"/>
                  <a:gd name="connsiteY42" fmla="*/ 270250 h 2180047"/>
                  <a:gd name="connsiteX43" fmla="*/ 200473 w 2129049"/>
                  <a:gd name="connsiteY43" fmla="*/ 220227 h 2180047"/>
                  <a:gd name="connsiteX44" fmla="*/ 545326 w 2129049"/>
                  <a:gd name="connsiteY44" fmla="*/ 37476 h 2180047"/>
                  <a:gd name="connsiteX45" fmla="*/ 541800 w 2129049"/>
                  <a:gd name="connsiteY45" fmla="*/ 40991 h 2180047"/>
                  <a:gd name="connsiteX46" fmla="*/ 536701 w 2129049"/>
                  <a:gd name="connsiteY46" fmla="*/ 46149 h 2180047"/>
                  <a:gd name="connsiteX47" fmla="*/ 940947 w 2129049"/>
                  <a:gd name="connsiteY47" fmla="*/ 939893 h 2180047"/>
                  <a:gd name="connsiteX48" fmla="*/ 978333 w 2129049"/>
                  <a:gd name="connsiteY48" fmla="*/ 993267 h 2180047"/>
                  <a:gd name="connsiteX49" fmla="*/ 1095859 w 2129049"/>
                  <a:gd name="connsiteY49" fmla="*/ 1039243 h 2180047"/>
                  <a:gd name="connsiteX50" fmla="*/ 1131484 w 2129049"/>
                  <a:gd name="connsiteY50" fmla="*/ 1124187 h 2180047"/>
                  <a:gd name="connsiteX51" fmla="*/ 1146506 w 2129049"/>
                  <a:gd name="connsiteY51" fmla="*/ 1133109 h 2180047"/>
                  <a:gd name="connsiteX52" fmla="*/ 1148541 w 2129049"/>
                  <a:gd name="connsiteY52" fmla="*/ 1133748 h 2180047"/>
                  <a:gd name="connsiteX53" fmla="*/ 1141842 w 2129049"/>
                  <a:gd name="connsiteY53" fmla="*/ 1144915 h 2180047"/>
                  <a:gd name="connsiteX54" fmla="*/ 1141505 w 2129049"/>
                  <a:gd name="connsiteY54" fmla="*/ 1145660 h 2180047"/>
                  <a:gd name="connsiteX55" fmla="*/ 1187973 w 2129049"/>
                  <a:gd name="connsiteY55" fmla="*/ 1232630 h 2180047"/>
                  <a:gd name="connsiteX56" fmla="*/ 1289562 w 2129049"/>
                  <a:gd name="connsiteY56" fmla="*/ 1373921 h 2180047"/>
                  <a:gd name="connsiteX57" fmla="*/ 1531690 w 2129049"/>
                  <a:gd name="connsiteY57" fmla="*/ 1481270 h 2180047"/>
                  <a:gd name="connsiteX58" fmla="*/ 1426417 w 2129049"/>
                  <a:gd name="connsiteY58" fmla="*/ 1496004 h 2180047"/>
                  <a:gd name="connsiteX59" fmla="*/ 1194816 w 2129049"/>
                  <a:gd name="connsiteY59" fmla="*/ 1399179 h 2180047"/>
                  <a:gd name="connsiteX60" fmla="*/ 1145436 w 2129049"/>
                  <a:gd name="connsiteY60" fmla="*/ 1340670 h 2180047"/>
                  <a:gd name="connsiteX61" fmla="*/ 1091189 w 2129049"/>
                  <a:gd name="connsiteY61" fmla="*/ 1275923 h 2180047"/>
                  <a:gd name="connsiteX62" fmla="*/ 1064249 w 2129049"/>
                  <a:gd name="connsiteY62" fmla="*/ 1369079 h 2180047"/>
                  <a:gd name="connsiteX63" fmla="*/ 1046007 w 2129049"/>
                  <a:gd name="connsiteY63" fmla="*/ 1483657 h 2180047"/>
                  <a:gd name="connsiteX64" fmla="*/ 1046013 w 2129049"/>
                  <a:gd name="connsiteY64" fmla="*/ 1495461 h 2180047"/>
                  <a:gd name="connsiteX65" fmla="*/ 1012870 w 2129049"/>
                  <a:gd name="connsiteY65" fmla="*/ 1487283 h 2180047"/>
                  <a:gd name="connsiteX66" fmla="*/ 561761 w 2129049"/>
                  <a:gd name="connsiteY66" fmla="*/ 1355377 h 2180047"/>
                  <a:gd name="connsiteX67" fmla="*/ 245802 w 2129049"/>
                  <a:gd name="connsiteY67" fmla="*/ 1165644 h 2180047"/>
                  <a:gd name="connsiteX68" fmla="*/ 203985 w 2129049"/>
                  <a:gd name="connsiteY68" fmla="*/ 1132152 h 2180047"/>
                  <a:gd name="connsiteX69" fmla="*/ 234345 w 2129049"/>
                  <a:gd name="connsiteY69" fmla="*/ 1297625 h 2180047"/>
                  <a:gd name="connsiteX70" fmla="*/ 260418 w 2129049"/>
                  <a:gd name="connsiteY70" fmla="*/ 1401636 h 2180047"/>
                  <a:gd name="connsiteX71" fmla="*/ 276086 w 2129049"/>
                  <a:gd name="connsiteY71" fmla="*/ 1451374 h 2180047"/>
                  <a:gd name="connsiteX72" fmla="*/ 305709 w 2129049"/>
                  <a:gd name="connsiteY72" fmla="*/ 1466895 h 2180047"/>
                  <a:gd name="connsiteX73" fmla="*/ 561761 w 2129049"/>
                  <a:gd name="connsiteY73" fmla="*/ 1572001 h 2180047"/>
                  <a:gd name="connsiteX74" fmla="*/ 1106575 w 2129049"/>
                  <a:gd name="connsiteY74" fmla="*/ 1664539 h 2180047"/>
                  <a:gd name="connsiteX75" fmla="*/ 1106413 w 2129049"/>
                  <a:gd name="connsiteY75" fmla="*/ 1663981 h 2180047"/>
                  <a:gd name="connsiteX76" fmla="*/ 1109394 w 2129049"/>
                  <a:gd name="connsiteY76" fmla="*/ 1669032 h 2180047"/>
                  <a:gd name="connsiteX77" fmla="*/ 1145872 w 2129049"/>
                  <a:gd name="connsiteY77" fmla="*/ 1724864 h 2180047"/>
                  <a:gd name="connsiteX78" fmla="*/ 1151390 w 2129049"/>
                  <a:gd name="connsiteY78" fmla="*/ 1728726 h 2180047"/>
                  <a:gd name="connsiteX79" fmla="*/ 1244657 w 2129049"/>
                  <a:gd name="connsiteY79" fmla="*/ 1793994 h 2180047"/>
                  <a:gd name="connsiteX80" fmla="*/ 1255282 w 2129049"/>
                  <a:gd name="connsiteY80" fmla="*/ 1801430 h 2180047"/>
                  <a:gd name="connsiteX81" fmla="*/ 1259765 w 2129049"/>
                  <a:gd name="connsiteY81" fmla="*/ 1803273 h 2180047"/>
                  <a:gd name="connsiteX82" fmla="*/ 1262425 w 2129049"/>
                  <a:gd name="connsiteY82" fmla="*/ 1805592 h 2180047"/>
                  <a:gd name="connsiteX83" fmla="*/ 1274330 w 2129049"/>
                  <a:gd name="connsiteY83" fmla="*/ 1811179 h 2180047"/>
                  <a:gd name="connsiteX84" fmla="*/ 1470632 w 2129049"/>
                  <a:gd name="connsiteY84" fmla="*/ 1851731 h 2180047"/>
                  <a:gd name="connsiteX85" fmla="*/ 1337987 w 2129049"/>
                  <a:gd name="connsiteY85" fmla="*/ 1879094 h 2180047"/>
                  <a:gd name="connsiteX86" fmla="*/ 1331095 w 2129049"/>
                  <a:gd name="connsiteY86" fmla="*/ 1878426 h 2180047"/>
                  <a:gd name="connsiteX87" fmla="*/ 1337882 w 2129049"/>
                  <a:gd name="connsiteY87" fmla="*/ 1887387 h 2180047"/>
                  <a:gd name="connsiteX88" fmla="*/ 2129049 w 2129049"/>
                  <a:gd name="connsiteY88" fmla="*/ 1929443 h 2180047"/>
                  <a:gd name="connsiteX89" fmla="*/ 1413632 w 2129049"/>
                  <a:gd name="connsiteY89" fmla="*/ 2169166 h 2180047"/>
                  <a:gd name="connsiteX90" fmla="*/ 1301496 w 2129049"/>
                  <a:gd name="connsiteY90" fmla="*/ 2177335 h 2180047"/>
                  <a:gd name="connsiteX91" fmla="*/ 1281595 w 2129049"/>
                  <a:gd name="connsiteY91" fmla="*/ 2175656 h 2180047"/>
                  <a:gd name="connsiteX92" fmla="*/ 1272759 w 2129049"/>
                  <a:gd name="connsiteY92" fmla="*/ 2177928 h 2180047"/>
                  <a:gd name="connsiteX93" fmla="*/ 1063402 w 2129049"/>
                  <a:gd name="connsiteY93" fmla="*/ 2155016 h 2180047"/>
                  <a:gd name="connsiteX94" fmla="*/ 994039 w 2129049"/>
                  <a:gd name="connsiteY94" fmla="*/ 2133739 h 2180047"/>
                  <a:gd name="connsiteX95" fmla="*/ 954380 w 2129049"/>
                  <a:gd name="connsiteY95" fmla="*/ 2125140 h 2180047"/>
                  <a:gd name="connsiteX96" fmla="*/ 485181 w 2129049"/>
                  <a:gd name="connsiteY96" fmla="*/ 1869194 h 2180047"/>
                  <a:gd name="connsiteX97" fmla="*/ 424111 w 2129049"/>
                  <a:gd name="connsiteY97" fmla="*/ 1817746 h 2180047"/>
                  <a:gd name="connsiteX98" fmla="*/ 407264 w 2129049"/>
                  <a:gd name="connsiteY98" fmla="*/ 1804650 h 2180047"/>
                  <a:gd name="connsiteX99" fmla="*/ 400242 w 2129049"/>
                  <a:gd name="connsiteY99" fmla="*/ 1797638 h 2180047"/>
                  <a:gd name="connsiteX100" fmla="*/ 373060 w 2129049"/>
                  <a:gd name="connsiteY100" fmla="*/ 1774739 h 2180047"/>
                  <a:gd name="connsiteX101" fmla="*/ 178723 w 2129049"/>
                  <a:gd name="connsiteY101" fmla="*/ 1546546 h 2180047"/>
                  <a:gd name="connsiteX102" fmla="*/ 0 w 2129049"/>
                  <a:gd name="connsiteY102" fmla="*/ 780817 h 2180047"/>
                  <a:gd name="connsiteX103" fmla="*/ 75177 w 2129049"/>
                  <a:gd name="connsiteY103" fmla="*/ 424975 h 2180047"/>
                  <a:gd name="connsiteX104" fmla="*/ 118668 w 2129049"/>
                  <a:gd name="connsiteY104" fmla="*/ 339046 h 2180047"/>
                  <a:gd name="connsiteX105" fmla="*/ 116953 w 2129049"/>
                  <a:gd name="connsiteY105" fmla="*/ 341932 h 2180047"/>
                  <a:gd name="connsiteX106" fmla="*/ 93993 w 2129049"/>
                  <a:gd name="connsiteY106" fmla="*/ 385485 h 2180047"/>
                  <a:gd name="connsiteX107" fmla="*/ 93509 w 2129049"/>
                  <a:gd name="connsiteY107" fmla="*/ 386464 h 2180047"/>
                  <a:gd name="connsiteX108" fmla="*/ 95671 w 2129049"/>
                  <a:gd name="connsiteY108" fmla="*/ 380966 h 2180047"/>
                  <a:gd name="connsiteX109" fmla="*/ 182624 w 2129049"/>
                  <a:gd name="connsiteY109" fmla="*/ 235436 h 2180047"/>
                  <a:gd name="connsiteX110" fmla="*/ 478385 w 2129049"/>
                  <a:gd name="connsiteY110" fmla="*/ 56179 h 2180047"/>
                  <a:gd name="connsiteX111" fmla="*/ 999928 w 2129049"/>
                  <a:gd name="connsiteY111" fmla="*/ 0 h 2180047"/>
                  <a:gd name="connsiteX112" fmla="*/ 1676449 w 2129049"/>
                  <a:gd name="connsiteY112" fmla="*/ 525838 h 2180047"/>
                  <a:gd name="connsiteX113" fmla="*/ 1579666 w 2129049"/>
                  <a:gd name="connsiteY113" fmla="*/ 999319 h 2180047"/>
                  <a:gd name="connsiteX114" fmla="*/ 1467605 w 2129049"/>
                  <a:gd name="connsiteY114" fmla="*/ 1154947 h 2180047"/>
                  <a:gd name="connsiteX115" fmla="*/ 1464597 w 2129049"/>
                  <a:gd name="connsiteY115" fmla="*/ 1153889 h 2180047"/>
                  <a:gd name="connsiteX116" fmla="*/ 1452025 w 2129049"/>
                  <a:gd name="connsiteY116" fmla="*/ 1125910 h 2180047"/>
                  <a:gd name="connsiteX117" fmla="*/ 1421781 w 2129049"/>
                  <a:gd name="connsiteY117" fmla="*/ 1058603 h 2180047"/>
                  <a:gd name="connsiteX118" fmla="*/ 1327088 w 2129049"/>
                  <a:gd name="connsiteY118" fmla="*/ 961820 h 2180047"/>
                  <a:gd name="connsiteX119" fmla="*/ 1304643 w 2129049"/>
                  <a:gd name="connsiteY119" fmla="*/ 931982 h 2180047"/>
                  <a:gd name="connsiteX120" fmla="*/ 1303076 w 2129049"/>
                  <a:gd name="connsiteY120" fmla="*/ 929526 h 2180047"/>
                  <a:gd name="connsiteX121" fmla="*/ 1268667 w 2129049"/>
                  <a:gd name="connsiteY121" fmla="*/ 875590 h 2180047"/>
                  <a:gd name="connsiteX122" fmla="*/ 1300274 w 2129049"/>
                  <a:gd name="connsiteY122" fmla="*/ 628723 h 2180047"/>
                  <a:gd name="connsiteX123" fmla="*/ 1307563 w 2129049"/>
                  <a:gd name="connsiteY123" fmla="*/ 618378 h 2180047"/>
                  <a:gd name="connsiteX124" fmla="*/ 1298642 w 2129049"/>
                  <a:gd name="connsiteY124" fmla="*/ 596988 h 2180047"/>
                  <a:gd name="connsiteX125" fmla="*/ 1292154 w 2129049"/>
                  <a:gd name="connsiteY125" fmla="*/ 580800 h 2180047"/>
                  <a:gd name="connsiteX126" fmla="*/ 1285141 w 2129049"/>
                  <a:gd name="connsiteY126" fmla="*/ 579133 h 2180047"/>
                  <a:gd name="connsiteX127" fmla="*/ 1003184 w 2129049"/>
                  <a:gd name="connsiteY127" fmla="*/ 372896 h 2180047"/>
                  <a:gd name="connsiteX128" fmla="*/ 993448 w 2129049"/>
                  <a:gd name="connsiteY128" fmla="*/ 53615 h 218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129049" h="2180047">
                    <a:moveTo>
                      <a:pt x="1222186" y="1839320"/>
                    </a:moveTo>
                    <a:cubicBezTo>
                      <a:pt x="1222186" y="1839320"/>
                      <a:pt x="1217322" y="1840010"/>
                      <a:pt x="1208400" y="1841119"/>
                    </a:cubicBezTo>
                    <a:lnTo>
                      <a:pt x="1186099" y="1843640"/>
                    </a:lnTo>
                    <a:lnTo>
                      <a:pt x="1188379" y="1844841"/>
                    </a:lnTo>
                    <a:cubicBezTo>
                      <a:pt x="1208837" y="1862152"/>
                      <a:pt x="1227939" y="1892644"/>
                      <a:pt x="1243194" y="1939957"/>
                    </a:cubicBezTo>
                    <a:cubicBezTo>
                      <a:pt x="1232936" y="1903158"/>
                      <a:pt x="1226723" y="1874737"/>
                      <a:pt x="1223702" y="1853174"/>
                    </a:cubicBezTo>
                    <a:lnTo>
                      <a:pt x="1222569" y="1839342"/>
                    </a:lnTo>
                    <a:close/>
                    <a:moveTo>
                      <a:pt x="441891" y="1746105"/>
                    </a:moveTo>
                    <a:lnTo>
                      <a:pt x="450977" y="1757606"/>
                    </a:lnTo>
                    <a:cubicBezTo>
                      <a:pt x="523579" y="1840277"/>
                      <a:pt x="612111" y="1915885"/>
                      <a:pt x="707370" y="1976776"/>
                    </a:cubicBezTo>
                    <a:lnTo>
                      <a:pt x="766453" y="2010648"/>
                    </a:lnTo>
                    <a:lnTo>
                      <a:pt x="831225" y="2015356"/>
                    </a:lnTo>
                    <a:cubicBezTo>
                      <a:pt x="884464" y="2017808"/>
                      <a:pt x="942877" y="2017788"/>
                      <a:pt x="999836" y="2014732"/>
                    </a:cubicBezTo>
                    <a:lnTo>
                      <a:pt x="1033552" y="2011934"/>
                    </a:lnTo>
                    <a:lnTo>
                      <a:pt x="1030508" y="1991231"/>
                    </a:lnTo>
                    <a:cubicBezTo>
                      <a:pt x="1029673" y="1945751"/>
                      <a:pt x="1045399" y="1901238"/>
                      <a:pt x="1069280" y="1869985"/>
                    </a:cubicBezTo>
                    <a:lnTo>
                      <a:pt x="1086998" y="1852207"/>
                    </a:lnTo>
                    <a:lnTo>
                      <a:pt x="1040249" y="1855089"/>
                    </a:lnTo>
                    <a:cubicBezTo>
                      <a:pt x="936134" y="1859819"/>
                      <a:pt x="805728" y="1858242"/>
                      <a:pt x="700561" y="1833012"/>
                    </a:cubicBezTo>
                    <a:cubicBezTo>
                      <a:pt x="607620" y="1810016"/>
                      <a:pt x="515887" y="1776557"/>
                      <a:pt x="442094" y="1746192"/>
                    </a:cubicBezTo>
                    <a:close/>
                    <a:moveTo>
                      <a:pt x="1059954" y="1504433"/>
                    </a:moveTo>
                    <a:lnTo>
                      <a:pt x="1137935" y="1553560"/>
                    </a:lnTo>
                    <a:cubicBezTo>
                      <a:pt x="1171787" y="1572701"/>
                      <a:pt x="1204817" y="1588620"/>
                      <a:pt x="1232714" y="1597039"/>
                    </a:cubicBezTo>
                    <a:cubicBezTo>
                      <a:pt x="1361148" y="1634927"/>
                      <a:pt x="1457999" y="1643347"/>
                      <a:pt x="1498003" y="1620193"/>
                    </a:cubicBezTo>
                    <a:cubicBezTo>
                      <a:pt x="1498003" y="1620193"/>
                      <a:pt x="1462210" y="1649661"/>
                      <a:pt x="1417995" y="1660186"/>
                    </a:cubicBezTo>
                    <a:cubicBezTo>
                      <a:pt x="1373780" y="1668605"/>
                      <a:pt x="1319038" y="1668605"/>
                      <a:pt x="1260085" y="1660186"/>
                    </a:cubicBezTo>
                    <a:cubicBezTo>
                      <a:pt x="1230609" y="1655976"/>
                      <a:pt x="1166918" y="1647556"/>
                      <a:pt x="1110597" y="1640189"/>
                    </a:cubicBezTo>
                    <a:lnTo>
                      <a:pt x="1099046" y="1638682"/>
                    </a:lnTo>
                    <a:close/>
                    <a:moveTo>
                      <a:pt x="251840" y="316333"/>
                    </a:moveTo>
                    <a:lnTo>
                      <a:pt x="246796" y="329846"/>
                    </a:lnTo>
                    <a:cubicBezTo>
                      <a:pt x="205006" y="446862"/>
                      <a:pt x="162954" y="588333"/>
                      <a:pt x="161902" y="686152"/>
                    </a:cubicBezTo>
                    <a:lnTo>
                      <a:pt x="163319" y="765157"/>
                    </a:lnTo>
                    <a:lnTo>
                      <a:pt x="168120" y="772124"/>
                    </a:lnTo>
                    <a:cubicBezTo>
                      <a:pt x="237177" y="866056"/>
                      <a:pt x="334563" y="972605"/>
                      <a:pt x="462568" y="1054574"/>
                    </a:cubicBezTo>
                    <a:cubicBezTo>
                      <a:pt x="755152" y="1239827"/>
                      <a:pt x="1083519" y="1296666"/>
                      <a:pt x="1083519" y="1296666"/>
                    </a:cubicBezTo>
                    <a:cubicBezTo>
                      <a:pt x="1112988" y="1212460"/>
                      <a:pt x="1112988" y="1212460"/>
                      <a:pt x="1112988" y="1212460"/>
                    </a:cubicBezTo>
                    <a:cubicBezTo>
                      <a:pt x="1112988" y="1212460"/>
                      <a:pt x="1058260" y="1208250"/>
                      <a:pt x="635171" y="913528"/>
                    </a:cubicBezTo>
                    <a:cubicBezTo>
                      <a:pt x="372057" y="730643"/>
                      <a:pt x="286544" y="495129"/>
                      <a:pt x="256327" y="344726"/>
                    </a:cubicBezTo>
                    <a:close/>
                    <a:moveTo>
                      <a:pt x="203697" y="216555"/>
                    </a:moveTo>
                    <a:lnTo>
                      <a:pt x="195507" y="224152"/>
                    </a:lnTo>
                    <a:cubicBezTo>
                      <a:pt x="181433" y="239566"/>
                      <a:pt x="166968" y="259629"/>
                      <a:pt x="153435" y="280530"/>
                    </a:cubicBezTo>
                    <a:lnTo>
                      <a:pt x="119142" y="338248"/>
                    </a:lnTo>
                    <a:lnTo>
                      <a:pt x="162420" y="270250"/>
                    </a:lnTo>
                    <a:cubicBezTo>
                      <a:pt x="176342" y="250442"/>
                      <a:pt x="189335" y="233719"/>
                      <a:pt x="200473" y="220227"/>
                    </a:cubicBezTo>
                    <a:close/>
                    <a:moveTo>
                      <a:pt x="545326" y="37476"/>
                    </a:moveTo>
                    <a:lnTo>
                      <a:pt x="541800" y="40991"/>
                    </a:lnTo>
                    <a:cubicBezTo>
                      <a:pt x="538494" y="44318"/>
                      <a:pt x="536701" y="46149"/>
                      <a:pt x="536701" y="46149"/>
                    </a:cubicBezTo>
                    <a:cubicBezTo>
                      <a:pt x="536701" y="131636"/>
                      <a:pt x="760164" y="665826"/>
                      <a:pt x="940947" y="939893"/>
                    </a:cubicBezTo>
                    <a:lnTo>
                      <a:pt x="978333" y="993267"/>
                    </a:lnTo>
                    <a:lnTo>
                      <a:pt x="1095859" y="1039243"/>
                    </a:lnTo>
                    <a:lnTo>
                      <a:pt x="1131484" y="1124187"/>
                    </a:lnTo>
                    <a:lnTo>
                      <a:pt x="1146506" y="1133109"/>
                    </a:lnTo>
                    <a:lnTo>
                      <a:pt x="1148541" y="1133748"/>
                    </a:lnTo>
                    <a:lnTo>
                      <a:pt x="1141842" y="1144915"/>
                    </a:lnTo>
                    <a:lnTo>
                      <a:pt x="1141505" y="1145660"/>
                    </a:lnTo>
                    <a:lnTo>
                      <a:pt x="1187973" y="1232630"/>
                    </a:lnTo>
                    <a:cubicBezTo>
                      <a:pt x="1223766" y="1293409"/>
                      <a:pt x="1261138" y="1345505"/>
                      <a:pt x="1289562" y="1373921"/>
                    </a:cubicBezTo>
                    <a:cubicBezTo>
                      <a:pt x="1344304" y="1428648"/>
                      <a:pt x="1426417" y="1496004"/>
                      <a:pt x="1531690" y="1481270"/>
                    </a:cubicBezTo>
                    <a:cubicBezTo>
                      <a:pt x="1531690" y="1481270"/>
                      <a:pt x="1476948" y="1504424"/>
                      <a:pt x="1426417" y="1496004"/>
                    </a:cubicBezTo>
                    <a:cubicBezTo>
                      <a:pt x="1377991" y="1485480"/>
                      <a:pt x="1245347" y="1456011"/>
                      <a:pt x="1194816" y="1399179"/>
                    </a:cubicBezTo>
                    <a:cubicBezTo>
                      <a:pt x="1182709" y="1384971"/>
                      <a:pt x="1165076" y="1364054"/>
                      <a:pt x="1145436" y="1340670"/>
                    </a:cubicBezTo>
                    <a:lnTo>
                      <a:pt x="1091189" y="1275923"/>
                    </a:lnTo>
                    <a:lnTo>
                      <a:pt x="1064249" y="1369079"/>
                    </a:lnTo>
                    <a:cubicBezTo>
                      <a:pt x="1054868" y="1409695"/>
                      <a:pt x="1048279" y="1449238"/>
                      <a:pt x="1046007" y="1483657"/>
                    </a:cubicBezTo>
                    <a:lnTo>
                      <a:pt x="1046013" y="1495461"/>
                    </a:lnTo>
                    <a:lnTo>
                      <a:pt x="1012870" y="1487283"/>
                    </a:lnTo>
                    <a:cubicBezTo>
                      <a:pt x="926987" y="1465792"/>
                      <a:pt x="733725" y="1415316"/>
                      <a:pt x="561761" y="1355377"/>
                    </a:cubicBezTo>
                    <a:cubicBezTo>
                      <a:pt x="461449" y="1320412"/>
                      <a:pt x="345032" y="1242374"/>
                      <a:pt x="245802" y="1165644"/>
                    </a:cubicBezTo>
                    <a:lnTo>
                      <a:pt x="203985" y="1132152"/>
                    </a:lnTo>
                    <a:lnTo>
                      <a:pt x="234345" y="1297625"/>
                    </a:lnTo>
                    <a:cubicBezTo>
                      <a:pt x="242410" y="1333469"/>
                      <a:pt x="251108" y="1368352"/>
                      <a:pt x="260418" y="1401636"/>
                    </a:cubicBezTo>
                    <a:lnTo>
                      <a:pt x="276086" y="1451374"/>
                    </a:lnTo>
                    <a:lnTo>
                      <a:pt x="305709" y="1466895"/>
                    </a:lnTo>
                    <a:cubicBezTo>
                      <a:pt x="373741" y="1500727"/>
                      <a:pt x="458919" y="1537496"/>
                      <a:pt x="561761" y="1572001"/>
                    </a:cubicBezTo>
                    <a:cubicBezTo>
                      <a:pt x="875187" y="1675055"/>
                      <a:pt x="1106575" y="1664539"/>
                      <a:pt x="1106575" y="1664539"/>
                    </a:cubicBezTo>
                    <a:lnTo>
                      <a:pt x="1106413" y="1663981"/>
                    </a:lnTo>
                    <a:lnTo>
                      <a:pt x="1109394" y="1669032"/>
                    </a:lnTo>
                    <a:lnTo>
                      <a:pt x="1145872" y="1724864"/>
                    </a:lnTo>
                    <a:lnTo>
                      <a:pt x="1151390" y="1728726"/>
                    </a:lnTo>
                    <a:cubicBezTo>
                      <a:pt x="1204685" y="1766022"/>
                      <a:pt x="1231333" y="1784670"/>
                      <a:pt x="1244657" y="1793994"/>
                    </a:cubicBezTo>
                    <a:lnTo>
                      <a:pt x="1255282" y="1801430"/>
                    </a:lnTo>
                    <a:lnTo>
                      <a:pt x="1259765" y="1803273"/>
                    </a:lnTo>
                    <a:lnTo>
                      <a:pt x="1262425" y="1805592"/>
                    </a:lnTo>
                    <a:lnTo>
                      <a:pt x="1274330" y="1811179"/>
                    </a:lnTo>
                    <a:cubicBezTo>
                      <a:pt x="1306011" y="1825288"/>
                      <a:pt x="1380623" y="1853310"/>
                      <a:pt x="1470632" y="1851731"/>
                    </a:cubicBezTo>
                    <a:cubicBezTo>
                      <a:pt x="1470632" y="1851731"/>
                      <a:pt x="1375886" y="1881199"/>
                      <a:pt x="1337987" y="1879094"/>
                    </a:cubicBezTo>
                    <a:lnTo>
                      <a:pt x="1331095" y="1878426"/>
                    </a:lnTo>
                    <a:lnTo>
                      <a:pt x="1337882" y="1887387"/>
                    </a:lnTo>
                    <a:cubicBezTo>
                      <a:pt x="1419945" y="2013557"/>
                      <a:pt x="2129049" y="1929443"/>
                      <a:pt x="2129049" y="1929443"/>
                    </a:cubicBezTo>
                    <a:cubicBezTo>
                      <a:pt x="2129049" y="1929443"/>
                      <a:pt x="2129049" y="1929443"/>
                      <a:pt x="1413632" y="2169166"/>
                    </a:cubicBezTo>
                    <a:cubicBezTo>
                      <a:pt x="1372338" y="2174818"/>
                      <a:pt x="1335063" y="2177389"/>
                      <a:pt x="1301496" y="2177335"/>
                    </a:cubicBezTo>
                    <a:lnTo>
                      <a:pt x="1281595" y="2175656"/>
                    </a:lnTo>
                    <a:lnTo>
                      <a:pt x="1272759" y="2177928"/>
                    </a:lnTo>
                    <a:cubicBezTo>
                      <a:pt x="1225811" y="2184118"/>
                      <a:pt x="1152027" y="2176826"/>
                      <a:pt x="1063402" y="2155016"/>
                    </a:cubicBezTo>
                    <a:lnTo>
                      <a:pt x="994039" y="2133739"/>
                    </a:lnTo>
                    <a:lnTo>
                      <a:pt x="954380" y="2125140"/>
                    </a:lnTo>
                    <a:cubicBezTo>
                      <a:pt x="795130" y="2082053"/>
                      <a:pt x="625466" y="1978945"/>
                      <a:pt x="485181" y="1869194"/>
                    </a:cubicBezTo>
                    <a:lnTo>
                      <a:pt x="424111" y="1817746"/>
                    </a:lnTo>
                    <a:lnTo>
                      <a:pt x="407264" y="1804650"/>
                    </a:lnTo>
                    <a:lnTo>
                      <a:pt x="400242" y="1797638"/>
                    </a:lnTo>
                    <a:lnTo>
                      <a:pt x="373060" y="1774739"/>
                    </a:lnTo>
                    <a:cubicBezTo>
                      <a:pt x="269990" y="1681147"/>
                      <a:pt x="196858" y="1593878"/>
                      <a:pt x="178723" y="1546546"/>
                    </a:cubicBezTo>
                    <a:cubicBezTo>
                      <a:pt x="92516" y="1378254"/>
                      <a:pt x="0" y="1054291"/>
                      <a:pt x="0" y="780817"/>
                    </a:cubicBezTo>
                    <a:cubicBezTo>
                      <a:pt x="0" y="639609"/>
                      <a:pt x="33412" y="519701"/>
                      <a:pt x="75177" y="424975"/>
                    </a:cubicBezTo>
                    <a:lnTo>
                      <a:pt x="118668" y="339046"/>
                    </a:lnTo>
                    <a:lnTo>
                      <a:pt x="116953" y="341932"/>
                    </a:lnTo>
                    <a:cubicBezTo>
                      <a:pt x="106605" y="360695"/>
                      <a:pt x="98512" y="376484"/>
                      <a:pt x="93993" y="385485"/>
                    </a:cubicBezTo>
                    <a:lnTo>
                      <a:pt x="93509" y="386464"/>
                    </a:lnTo>
                    <a:lnTo>
                      <a:pt x="95671" y="380966"/>
                    </a:lnTo>
                    <a:cubicBezTo>
                      <a:pt x="123713" y="321057"/>
                      <a:pt x="154747" y="273315"/>
                      <a:pt x="182624" y="235436"/>
                    </a:cubicBezTo>
                    <a:cubicBezTo>
                      <a:pt x="241010" y="154155"/>
                      <a:pt x="355019" y="96548"/>
                      <a:pt x="478385" y="56179"/>
                    </a:cubicBezTo>
                    <a:close/>
                    <a:moveTo>
                      <a:pt x="999928" y="0"/>
                    </a:moveTo>
                    <a:lnTo>
                      <a:pt x="1676449" y="525838"/>
                    </a:lnTo>
                    <a:cubicBezTo>
                      <a:pt x="1676449" y="525838"/>
                      <a:pt x="1594394" y="780465"/>
                      <a:pt x="1579666" y="999319"/>
                    </a:cubicBezTo>
                    <a:cubicBezTo>
                      <a:pt x="1570461" y="1136103"/>
                      <a:pt x="1517697" y="1165202"/>
                      <a:pt x="1467605" y="1154947"/>
                    </a:cubicBezTo>
                    <a:lnTo>
                      <a:pt x="1464597" y="1153889"/>
                    </a:lnTo>
                    <a:lnTo>
                      <a:pt x="1452025" y="1125910"/>
                    </a:lnTo>
                    <a:cubicBezTo>
                      <a:pt x="1443951" y="1107940"/>
                      <a:pt x="1434013" y="1085824"/>
                      <a:pt x="1421781" y="1058603"/>
                    </a:cubicBezTo>
                    <a:cubicBezTo>
                      <a:pt x="1421781" y="1058603"/>
                      <a:pt x="1360757" y="999691"/>
                      <a:pt x="1327088" y="961820"/>
                    </a:cubicBezTo>
                    <a:lnTo>
                      <a:pt x="1304643" y="931982"/>
                    </a:lnTo>
                    <a:lnTo>
                      <a:pt x="1303076" y="929526"/>
                    </a:lnTo>
                    <a:cubicBezTo>
                      <a:pt x="1268667" y="875590"/>
                      <a:pt x="1268667" y="875590"/>
                      <a:pt x="1268667" y="875590"/>
                    </a:cubicBezTo>
                    <a:cubicBezTo>
                      <a:pt x="1268667" y="875590"/>
                      <a:pt x="1236457" y="743498"/>
                      <a:pt x="1300274" y="628723"/>
                    </a:cubicBezTo>
                    <a:lnTo>
                      <a:pt x="1307563" y="618378"/>
                    </a:lnTo>
                    <a:lnTo>
                      <a:pt x="1298642" y="596988"/>
                    </a:lnTo>
                    <a:lnTo>
                      <a:pt x="1292154" y="580800"/>
                    </a:lnTo>
                    <a:lnTo>
                      <a:pt x="1285141" y="579133"/>
                    </a:lnTo>
                    <a:cubicBezTo>
                      <a:pt x="1217808" y="547566"/>
                      <a:pt x="1022122" y="492850"/>
                      <a:pt x="1003184" y="372896"/>
                    </a:cubicBezTo>
                    <a:cubicBezTo>
                      <a:pt x="992533" y="305422"/>
                      <a:pt x="984544" y="180018"/>
                      <a:pt x="993448" y="53615"/>
                    </a:cubicBezTo>
                    <a:close/>
                  </a:path>
                </a:pathLst>
              </a:custGeom>
              <a:solidFill>
                <a:srgbClr val="FAED22"/>
              </a:solidFill>
              <a:ln w="3175" cap="flat">
                <a:solidFill>
                  <a:schemeClr val="tx1"/>
                </a:solidFill>
                <a:prstDash val="solid"/>
                <a:miter lim="800000"/>
                <a:headEnd/>
                <a:tailEnd/>
              </a:ln>
            </p:spPr>
            <p:txBody>
              <a:bodyPr vert="horz" wrap="square" lIns="89642" tIns="44821" rIns="89642" bIns="44821" numCol="1" anchor="t" anchorCtr="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000000"/>
                  </a:solidFill>
                  <a:effectLst/>
                  <a:uLnTx/>
                  <a:uFillTx/>
                </a:endParaRPr>
              </a:p>
            </p:txBody>
          </p:sp>
          <p:sp>
            <p:nvSpPr>
              <p:cNvPr id="25" name="Freeform 24"/>
              <p:cNvSpPr>
                <a:spLocks/>
              </p:cNvSpPr>
              <p:nvPr/>
            </p:nvSpPr>
            <p:spPr bwMode="auto">
              <a:xfrm>
                <a:off x="1058398" y="3354141"/>
                <a:ext cx="533724" cy="414349"/>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solidFill>
                <a:srgbClr val="FAED22"/>
              </a:solidFill>
              <a:ln w="3175">
                <a:solidFill>
                  <a:schemeClr val="tx1"/>
                </a:solidFill>
              </a:ln>
            </p:spPr>
            <p:txBody>
              <a:bodyPr vert="horz" wrap="square" lIns="89642" tIns="44821" rIns="89642" bIns="44821" numCol="1" anchor="t" anchorCtr="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000000"/>
                  </a:solidFill>
                  <a:effectLst/>
                  <a:uLnTx/>
                  <a:uFillTx/>
                </a:endParaRPr>
              </a:p>
            </p:txBody>
          </p:sp>
        </p:grpSp>
      </p:grpSp>
    </p:spTree>
    <p:extLst>
      <p:ext uri="{BB962C8B-B14F-4D97-AF65-F5344CB8AC3E}">
        <p14:creationId xmlns:p14="http://schemas.microsoft.com/office/powerpoint/2010/main" val="525965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ve Client Tools</a:t>
            </a:r>
          </a:p>
        </p:txBody>
      </p:sp>
      <p:sp>
        <p:nvSpPr>
          <p:cNvPr id="3" name="Text Placeholder 2"/>
          <p:cNvSpPr>
            <a:spLocks noGrp="1"/>
          </p:cNvSpPr>
          <p:nvPr>
            <p:ph type="body" sz="quarter" idx="10"/>
          </p:nvPr>
        </p:nvSpPr>
        <p:spPr>
          <a:xfrm>
            <a:off x="274638" y="1212850"/>
            <a:ext cx="11887200" cy="1415772"/>
          </a:xfrm>
        </p:spPr>
        <p:txBody>
          <a:bodyPr/>
          <a:lstStyle/>
          <a:p>
            <a:pPr marL="571500" indent="-571500">
              <a:buFont typeface="Arial" panose="020B0604020202020204" pitchFamily="34" charset="0"/>
              <a:buChar char="•"/>
            </a:pPr>
            <a:r>
              <a:rPr lang="en-US" dirty="0"/>
              <a:t>You can submit Hive Jobs using many different tools</a:t>
            </a:r>
          </a:p>
          <a:p>
            <a:pPr marL="571500" indent="-571500">
              <a:buFont typeface="Arial" panose="020B0604020202020204" pitchFamily="34" charset="0"/>
              <a:buChar char="•"/>
            </a:pPr>
            <a:endParaRPr lang="en-US" dirty="0"/>
          </a:p>
        </p:txBody>
      </p:sp>
      <p:pic>
        <p:nvPicPr>
          <p:cNvPr id="5" name="Picture 4"/>
          <p:cNvPicPr>
            <a:picLocks noChangeAspect="1"/>
          </p:cNvPicPr>
          <p:nvPr/>
        </p:nvPicPr>
        <p:blipFill>
          <a:blip r:embed="rId3"/>
          <a:stretch>
            <a:fillRect/>
          </a:stretch>
        </p:blipFill>
        <p:spPr>
          <a:xfrm>
            <a:off x="1507379" y="1920736"/>
            <a:ext cx="9421718" cy="4389152"/>
          </a:xfrm>
          <a:prstGeom prst="rect">
            <a:avLst/>
          </a:prstGeom>
        </p:spPr>
      </p:pic>
    </p:spTree>
    <p:extLst>
      <p:ext uri="{BB962C8B-B14F-4D97-AF65-F5344CB8AC3E}">
        <p14:creationId xmlns:p14="http://schemas.microsoft.com/office/powerpoint/2010/main" val="322047230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Create, load, and query Hive tables</a:t>
            </a:r>
          </a:p>
        </p:txBody>
      </p:sp>
      <p:sp>
        <p:nvSpPr>
          <p:cNvPr id="35" name="Title 2"/>
          <p:cNvSpPr txBox="1">
            <a:spLocks/>
          </p:cNvSpPr>
          <p:nvPr/>
        </p:nvSpPr>
        <p:spPr bwMode="ltGray">
          <a:xfrm>
            <a:off x="274640" y="1570636"/>
            <a:ext cx="4683752" cy="4898441"/>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326473" tIns="886140" rIns="274320" bIns="886140"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0" marR="0" lvl="0" indent="0" algn="l" defTabSz="932742" rtl="0" eaLnBrk="1" fontAlgn="auto" latinLnBrk="0" hangingPunct="1">
              <a:lnSpc>
                <a:spcPct val="90000"/>
              </a:lnSpc>
              <a:spcBef>
                <a:spcPct val="0"/>
              </a:spcBef>
              <a:spcAft>
                <a:spcPts val="600"/>
              </a:spcAft>
              <a:buClrTx/>
              <a:buSzTx/>
              <a:buFontTx/>
              <a:buNone/>
              <a:tabLst/>
              <a:defRPr/>
            </a:pPr>
            <a:r>
              <a:rPr kumimoji="0" lang="en-US" sz="2400" b="0" i="0" u="none" strike="noStrike" kern="0" cap="none" spc="0" normalizeH="0" baseline="0" noProof="0" dirty="0">
                <a:ln w="3175">
                  <a:noFill/>
                </a:ln>
                <a:solidFill>
                  <a:srgbClr val="FFFFFF"/>
                </a:solidFill>
                <a:effectLst/>
                <a:uLnTx/>
                <a:uFillTx/>
                <a:latin typeface="Segoe UI Light"/>
                <a:ea typeface="+mn-ea"/>
                <a:cs typeface="Arial" charset="0"/>
              </a:rPr>
              <a:t>HiveQL includes data definition language, data import/export and data manipulation language statements</a:t>
            </a:r>
          </a:p>
        </p:txBody>
      </p:sp>
      <p:sp>
        <p:nvSpPr>
          <p:cNvPr id="38" name="Rectangle 37"/>
          <p:cNvSpPr/>
          <p:nvPr/>
        </p:nvSpPr>
        <p:spPr bwMode="auto">
          <a:xfrm>
            <a:off x="6693177" y="2195942"/>
            <a:ext cx="4275267" cy="1042416"/>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ctr"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Create table</a:t>
            </a:r>
          </a:p>
        </p:txBody>
      </p:sp>
      <p:sp>
        <p:nvSpPr>
          <p:cNvPr id="39" name="Rectangle 38"/>
          <p:cNvSpPr/>
          <p:nvPr/>
        </p:nvSpPr>
        <p:spPr bwMode="auto">
          <a:xfrm>
            <a:off x="6693177" y="3532643"/>
            <a:ext cx="4275267" cy="1041935"/>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ctr"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Import data into Hive table </a:t>
            </a:r>
          </a:p>
        </p:txBody>
      </p:sp>
      <p:sp>
        <p:nvSpPr>
          <p:cNvPr id="40" name="Rectangle 39"/>
          <p:cNvSpPr/>
          <p:nvPr/>
        </p:nvSpPr>
        <p:spPr bwMode="auto">
          <a:xfrm>
            <a:off x="6693177" y="4868863"/>
            <a:ext cx="4275267" cy="1043239"/>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ctr"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Query data using SQL-like statement</a:t>
            </a:r>
          </a:p>
        </p:txBody>
      </p:sp>
      <p:pic>
        <p:nvPicPr>
          <p:cNvPr id="42" name="Picture 47" descr="C:\Users\sakuu\Documents\Ballmer MGX 2011\Tile Icons\Calendar.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black">
          <a:xfrm>
            <a:off x="8391743" y="2299474"/>
            <a:ext cx="841916" cy="589548"/>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p:cNvPicPr/>
          <p:nvPr/>
        </p:nvPicPr>
        <p:blipFill rotWithShape="1">
          <a:blip r:embed="rId4" cstate="print">
            <a:lum bright="70000" contrast="-70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rcRect/>
          <a:stretch/>
        </p:blipFill>
        <p:spPr bwMode="auto">
          <a:xfrm>
            <a:off x="8370444" y="4920120"/>
            <a:ext cx="884515" cy="629956"/>
          </a:xfrm>
          <a:prstGeom prst="rect">
            <a:avLst/>
          </a:prstGeom>
          <a:noFill/>
        </p:spPr>
      </p:pic>
      <p:sp>
        <p:nvSpPr>
          <p:cNvPr id="45" name="Freeform 83"/>
          <p:cNvSpPr>
            <a:spLocks noEditPoints="1"/>
          </p:cNvSpPr>
          <p:nvPr/>
        </p:nvSpPr>
        <p:spPr bwMode="black">
          <a:xfrm>
            <a:off x="8511884" y="3603953"/>
            <a:ext cx="601634" cy="635101"/>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45720" tIns="41153" rIns="82305" bIns="4115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7" name="Group 6"/>
          <p:cNvGrpSpPr/>
          <p:nvPr/>
        </p:nvGrpSpPr>
        <p:grpSpPr>
          <a:xfrm>
            <a:off x="8692593" y="3331345"/>
            <a:ext cx="240217" cy="109587"/>
            <a:chOff x="8409852" y="295277"/>
            <a:chExt cx="1648548" cy="200023"/>
          </a:xfrm>
        </p:grpSpPr>
        <p:cxnSp>
          <p:nvCxnSpPr>
            <p:cNvPr id="3" name="Straight Connector 2"/>
            <p:cNvCxnSpPr/>
            <p:nvPr/>
          </p:nvCxnSpPr>
          <p:spPr>
            <a:xfrm>
              <a:off x="8409852" y="295277"/>
              <a:ext cx="841916" cy="200023"/>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flipV="1">
              <a:off x="9251768" y="295277"/>
              <a:ext cx="806632" cy="200023"/>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8692593" y="4684595"/>
            <a:ext cx="240217" cy="109587"/>
            <a:chOff x="8409852" y="295277"/>
            <a:chExt cx="1648548" cy="200023"/>
          </a:xfrm>
        </p:grpSpPr>
        <p:cxnSp>
          <p:nvCxnSpPr>
            <p:cNvPr id="21" name="Straight Connector 20"/>
            <p:cNvCxnSpPr/>
            <p:nvPr/>
          </p:nvCxnSpPr>
          <p:spPr>
            <a:xfrm>
              <a:off x="8409852" y="295277"/>
              <a:ext cx="841916" cy="200023"/>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9251768" y="295277"/>
              <a:ext cx="806632" cy="200023"/>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02529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6764" y="1803064"/>
            <a:ext cx="7514284" cy="463716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3200" dirty="0">
                <a:solidFill>
                  <a:srgbClr val="00B050"/>
                </a:solidFill>
                <a:latin typeface="Segoe UI Light"/>
              </a:rPr>
              <a:t>Understand ADF and its constructs</a:t>
            </a:r>
          </a:p>
          <a:p>
            <a:pPr marL="514350" indent="-514350">
              <a:lnSpc>
                <a:spcPct val="100000"/>
              </a:lnSpc>
              <a:spcBef>
                <a:spcPts val="1000"/>
              </a:spcBef>
              <a:buAutoNum type="arabicPeriod"/>
            </a:pPr>
            <a:r>
              <a:rPr lang="en-US" sz="3200" dirty="0">
                <a:solidFill>
                  <a:srgbClr val="00B050"/>
                </a:solidFill>
                <a:latin typeface="Segoe UI Light"/>
              </a:rPr>
              <a:t>Implement an ADF Pipeline referencing Data Sources and with various Activities</a:t>
            </a:r>
          </a:p>
          <a:p>
            <a:pPr marL="514350" indent="-514350">
              <a:lnSpc>
                <a:spcPct val="100000"/>
              </a:lnSpc>
              <a:spcBef>
                <a:spcPts val="1000"/>
              </a:spcBef>
              <a:buAutoNum type="arabicPeriod"/>
            </a:pPr>
            <a:r>
              <a:rPr lang="en-US" sz="3200" dirty="0">
                <a:solidFill>
                  <a:srgbClr val="00B050"/>
                </a:solidFill>
                <a:latin typeface="Segoe UI Light"/>
              </a:rPr>
              <a:t>Understand how HDInsight can be used to process data</a:t>
            </a:r>
          </a:p>
          <a:p>
            <a:pPr marL="514350" indent="-514350">
              <a:lnSpc>
                <a:spcPct val="100000"/>
              </a:lnSpc>
              <a:spcBef>
                <a:spcPts val="1000"/>
              </a:spcBef>
              <a:buAutoNum type="arabicPeriod"/>
            </a:pPr>
            <a:r>
              <a:rPr lang="en-US" sz="3200" dirty="0">
                <a:solidFill>
                  <a:srgbClr val="00B050"/>
                </a:solidFill>
                <a:latin typeface="Segoe UI Light"/>
              </a:rPr>
              <a:t>Understand the HIVE language and how it is used</a:t>
            </a:r>
          </a:p>
          <a:p>
            <a:pPr marL="514350" indent="-514350">
              <a:lnSpc>
                <a:spcPct val="100000"/>
              </a:lnSpc>
              <a:spcBef>
                <a:spcPts val="1000"/>
              </a:spcBef>
              <a:buAutoNum type="arabicPeriod"/>
            </a:pPr>
            <a:endParaRPr lang="en-US" sz="3200" dirty="0">
              <a:solidFill>
                <a:srgbClr val="00B050"/>
              </a:solidFill>
              <a:latin typeface="Segoe UI Light"/>
            </a:endParaRPr>
          </a:p>
        </p:txBody>
      </p:sp>
      <p:sp>
        <p:nvSpPr>
          <p:cNvPr id="7" name="Title 1"/>
          <p:cNvSpPr txBox="1">
            <a:spLocks/>
          </p:cNvSpPr>
          <p:nvPr/>
        </p:nvSpPr>
        <p:spPr>
          <a:xfrm>
            <a:off x="0" y="0"/>
            <a:ext cx="7787812" cy="158326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lang="en-US" sz="5400" dirty="0">
                <a:solidFill>
                  <a:srgbClr val="005AA1"/>
                </a:solidFill>
              </a:rPr>
              <a:t>Section</a:t>
            </a:r>
            <a:r>
              <a:rPr sz="5400" dirty="0">
                <a:solidFill>
                  <a:srgbClr val="005AA1"/>
                </a:solidFill>
              </a:rPr>
              <a:t> </a:t>
            </a:r>
            <a:r>
              <a:rPr lang="en-US" sz="5400" dirty="0">
                <a:solidFill>
                  <a:srgbClr val="005AA1"/>
                </a:solidFill>
              </a:rPr>
              <a:t>3</a:t>
            </a:r>
            <a:r>
              <a:rPr sz="5400" dirty="0">
                <a:solidFill>
                  <a:srgbClr val="005AA1"/>
                </a:solidFill>
              </a:rPr>
              <a:t> Learning Objectives</a:t>
            </a:r>
            <a:endParaRPr sz="4800" dirty="0">
              <a:solidFill>
                <a:srgbClr val="005AA1"/>
              </a:solidFill>
            </a:endParaRP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67724103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3: </a:t>
            </a:r>
            <a:br>
              <a:rPr lang="en-US" dirty="0"/>
            </a:br>
            <a:r>
              <a:rPr lang="en-US" sz="4400" dirty="0"/>
              <a:t>Azure Data Factory</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94503640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46050"/>
            <a:ext cx="11885613" cy="1179513"/>
          </a:xfrm>
        </p:spPr>
        <p:txBody>
          <a:bodyPr vert="horz" wrap="square" lIns="146304" tIns="91440" rIns="146304" bIns="91440" rtlCol="0" anchor="t">
            <a:noAutofit/>
          </a:bodyPr>
          <a:lstStyle/>
          <a:p>
            <a:pPr defTabSz="932742">
              <a:lnSpc>
                <a:spcPct val="90000"/>
              </a:lnSpc>
            </a:pPr>
            <a:r>
              <a:rPr lang="en-US" sz="5400" spc="-102" dirty="0">
                <a:ln w="3175">
                  <a:noFill/>
                </a:ln>
                <a:solidFill>
                  <a:schemeClr val="bg1"/>
                </a:solidFill>
                <a:ea typeface="+mn-ea"/>
                <a:cs typeface="Segoe UI" pitchFamily="34" charset="0"/>
              </a:rPr>
              <a:t>Azure Data Factory</a:t>
            </a:r>
          </a:p>
        </p:txBody>
      </p:sp>
      <p:sp>
        <p:nvSpPr>
          <p:cNvPr id="3" name="Rectangle 2"/>
          <p:cNvSpPr/>
          <p:nvPr/>
        </p:nvSpPr>
        <p:spPr>
          <a:xfrm>
            <a:off x="921427" y="2357717"/>
            <a:ext cx="10590297" cy="2636397"/>
          </a:xfrm>
          <a:prstGeom prst="rect">
            <a:avLst/>
          </a:prstGeom>
        </p:spPr>
        <p:txBody>
          <a:bodyPr wrap="square">
            <a:spAutoFit/>
          </a:bodyPr>
          <a:lstStyle/>
          <a:p>
            <a:pPr defTabSz="914224"/>
            <a:r>
              <a:rPr lang="en-US" sz="5399" kern="0" dirty="0">
                <a:solidFill>
                  <a:schemeClr val="bg1"/>
                </a:solidFill>
                <a:latin typeface="+mj-lt"/>
              </a:rPr>
              <a:t>Create, orchestrate, and manage data movement and enrichment through the cloud</a:t>
            </a:r>
          </a:p>
        </p:txBody>
      </p:sp>
      <p:pic>
        <p:nvPicPr>
          <p:cNvPr id="4" name="Picture 3"/>
          <p:cNvPicPr>
            <a:picLocks noChangeAspect="1"/>
          </p:cNvPicPr>
          <p:nvPr/>
        </p:nvPicPr>
        <p:blipFill>
          <a:blip r:embed="rId3"/>
          <a:stretch>
            <a:fillRect/>
          </a:stretch>
        </p:blipFill>
        <p:spPr>
          <a:xfrm>
            <a:off x="8226387" y="297435"/>
            <a:ext cx="3660330" cy="1730147"/>
          </a:xfrm>
          <a:prstGeom prst="rect">
            <a:avLst/>
          </a:prstGeom>
        </p:spPr>
      </p:pic>
    </p:spTree>
    <p:extLst>
      <p:ext uri="{BB962C8B-B14F-4D97-AF65-F5344CB8AC3E}">
        <p14:creationId xmlns:p14="http://schemas.microsoft.com/office/powerpoint/2010/main" val="1193620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2"/>
            <a:ext cx="11884506" cy="1129044"/>
          </a:xfrm>
          <a:prstGeom prst="rect">
            <a:avLst/>
          </a:prstGeom>
        </p:spPr>
        <p:txBody>
          <a:bodyPr vert="horz" lIns="186521" tIns="46630" rIns="186521" bIns="46630" rtlCol="0" anchor="t">
            <a:noAutofit/>
          </a:bodyPr>
          <a:lstStyle>
            <a:lvl1pPr defTabSz="896157">
              <a:spcBef>
                <a:spcPct val="0"/>
              </a:spcBef>
              <a:buNone/>
              <a:defRPr sz="4705">
                <a:gradFill>
                  <a:gsLst>
                    <a:gs pos="0">
                      <a:schemeClr val="tx1"/>
                    </a:gs>
                    <a:gs pos="100000">
                      <a:schemeClr val="tx1"/>
                    </a:gs>
                  </a:gsLst>
                  <a:lin ang="5400000" scaled="0"/>
                </a:gradFill>
                <a:latin typeface="+mj-lt"/>
                <a:ea typeface="+mj-ea"/>
                <a:cs typeface="+mj-cs"/>
              </a:defRPr>
            </a:lvl1pPr>
          </a:lstStyle>
          <a:p>
            <a:pPr defTabSz="913991"/>
            <a:r>
              <a:rPr lang="en-US" sz="4799" kern="0" dirty="0">
                <a:solidFill>
                  <a:srgbClr val="00B0F0"/>
                </a:solidFill>
              </a:rPr>
              <a:t>ADF Components</a:t>
            </a:r>
          </a:p>
        </p:txBody>
      </p:sp>
      <p:pic>
        <p:nvPicPr>
          <p:cNvPr id="3" name="Picture 2"/>
          <p:cNvPicPr>
            <a:picLocks noChangeAspect="1"/>
          </p:cNvPicPr>
          <p:nvPr/>
        </p:nvPicPr>
        <p:blipFill>
          <a:blip r:embed="rId3"/>
          <a:stretch>
            <a:fillRect/>
          </a:stretch>
        </p:blipFill>
        <p:spPr>
          <a:xfrm>
            <a:off x="976917" y="1990311"/>
            <a:ext cx="10745076" cy="3294525"/>
          </a:xfrm>
          <a:prstGeom prst="rect">
            <a:avLst/>
          </a:prstGeom>
        </p:spPr>
      </p:pic>
    </p:spTree>
    <p:extLst>
      <p:ext uri="{BB962C8B-B14F-4D97-AF65-F5344CB8AC3E}">
        <p14:creationId xmlns:p14="http://schemas.microsoft.com/office/powerpoint/2010/main" val="753943266"/>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3"/>
            <a:ext cx="11884506" cy="1205233"/>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ADF Logical Flow</a:t>
            </a:r>
          </a:p>
        </p:txBody>
      </p:sp>
      <p:pic>
        <p:nvPicPr>
          <p:cNvPr id="4" name="Picture 3"/>
          <p:cNvPicPr>
            <a:picLocks noChangeAspect="1"/>
          </p:cNvPicPr>
          <p:nvPr/>
        </p:nvPicPr>
        <p:blipFill>
          <a:blip r:embed="rId3"/>
          <a:stretch>
            <a:fillRect/>
          </a:stretch>
        </p:blipFill>
        <p:spPr>
          <a:xfrm>
            <a:off x="584632" y="1607329"/>
            <a:ext cx="11499669" cy="3658468"/>
          </a:xfrm>
          <a:prstGeom prst="rect">
            <a:avLst/>
          </a:prstGeom>
        </p:spPr>
      </p:pic>
    </p:spTree>
    <p:extLst>
      <p:ext uri="{BB962C8B-B14F-4D97-AF65-F5344CB8AC3E}">
        <p14:creationId xmlns:p14="http://schemas.microsoft.com/office/powerpoint/2010/main" val="2989969315"/>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3"/>
            <a:ext cx="11884506" cy="1205233"/>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5400" kern="0" dirty="0"/>
              <a:t>ADF Process</a:t>
            </a:r>
          </a:p>
        </p:txBody>
      </p:sp>
      <p:sp>
        <p:nvSpPr>
          <p:cNvPr id="5" name="Rectangle 4"/>
          <p:cNvSpPr/>
          <p:nvPr/>
        </p:nvSpPr>
        <p:spPr>
          <a:xfrm>
            <a:off x="524049" y="1403715"/>
            <a:ext cx="11560252" cy="5016758"/>
          </a:xfrm>
          <a:prstGeom prst="rect">
            <a:avLst/>
          </a:prstGeom>
        </p:spPr>
        <p:txBody>
          <a:bodyPr wrap="square">
            <a:spAutoFit/>
          </a:bodyPr>
          <a:lstStyle/>
          <a:p>
            <a:pPr marL="514251" indent="-514251" defTabSz="914224">
              <a:buFont typeface="+mj-lt"/>
              <a:buAutoNum type="arabicPeriod"/>
              <a:defRPr/>
            </a:pPr>
            <a:r>
              <a:rPr lang="en-US" sz="4000" kern="0" dirty="0">
                <a:solidFill>
                  <a:srgbClr val="C00000"/>
                </a:solidFill>
                <a:latin typeface="Segoe UI Light"/>
              </a:rPr>
              <a:t>Define Architecture</a:t>
            </a:r>
            <a:r>
              <a:rPr lang="en-US" sz="4000" kern="0" dirty="0">
                <a:solidFill>
                  <a:sysClr val="windowText" lastClr="000000"/>
                </a:solidFill>
                <a:latin typeface="Segoe UI Light"/>
              </a:rPr>
              <a:t>: Set up objectives and flow</a:t>
            </a:r>
          </a:p>
          <a:p>
            <a:pPr marL="514251" indent="-514251" defTabSz="914224">
              <a:buFont typeface="+mj-lt"/>
              <a:buAutoNum type="arabicPeriod"/>
              <a:defRPr/>
            </a:pPr>
            <a:r>
              <a:rPr lang="en-US" sz="4000" kern="0" dirty="0">
                <a:solidFill>
                  <a:srgbClr val="C00000"/>
                </a:solidFill>
                <a:latin typeface="Segoe UI Light"/>
              </a:rPr>
              <a:t>Create the Data Factory</a:t>
            </a:r>
            <a:r>
              <a:rPr lang="en-US" sz="4000" kern="0" dirty="0">
                <a:solidFill>
                  <a:sysClr val="windowText" lastClr="000000"/>
                </a:solidFill>
                <a:latin typeface="Segoe UI Light"/>
              </a:rPr>
              <a:t>: Portal, PowerShell, VS</a:t>
            </a:r>
          </a:p>
          <a:p>
            <a:pPr marL="514251" indent="-514251" defTabSz="914224">
              <a:buFont typeface="+mj-lt"/>
              <a:buAutoNum type="arabicPeriod"/>
              <a:defRPr/>
            </a:pPr>
            <a:r>
              <a:rPr lang="en-US" sz="4000" kern="0" dirty="0">
                <a:solidFill>
                  <a:srgbClr val="C00000"/>
                </a:solidFill>
                <a:latin typeface="Segoe UI Light"/>
              </a:rPr>
              <a:t>Create Linked Services</a:t>
            </a:r>
            <a:r>
              <a:rPr lang="en-US" sz="4000" kern="0" dirty="0">
                <a:solidFill>
                  <a:sysClr val="windowText" lastClr="000000"/>
                </a:solidFill>
                <a:latin typeface="Segoe UI Light"/>
              </a:rPr>
              <a:t>: Connections to Data and Services</a:t>
            </a:r>
          </a:p>
          <a:p>
            <a:pPr marL="514251" indent="-514251" defTabSz="914224">
              <a:buFont typeface="+mj-lt"/>
              <a:buAutoNum type="arabicPeriod"/>
              <a:defRPr/>
            </a:pPr>
            <a:r>
              <a:rPr lang="en-US" sz="4000" kern="0" dirty="0">
                <a:solidFill>
                  <a:srgbClr val="C00000"/>
                </a:solidFill>
                <a:latin typeface="Segoe UI Light"/>
              </a:rPr>
              <a:t>Create Datasets</a:t>
            </a:r>
            <a:r>
              <a:rPr lang="en-US" sz="4000" kern="0" dirty="0">
                <a:solidFill>
                  <a:sysClr val="windowText" lastClr="000000"/>
                </a:solidFill>
                <a:latin typeface="Segoe UI Light"/>
              </a:rPr>
              <a:t>: Input and Output</a:t>
            </a:r>
            <a:r>
              <a:rPr lang="en-US" sz="4000" kern="0" dirty="0">
                <a:solidFill>
                  <a:srgbClr val="C00000"/>
                </a:solidFill>
                <a:latin typeface="Segoe UI Light"/>
              </a:rPr>
              <a:t> </a:t>
            </a:r>
          </a:p>
          <a:p>
            <a:pPr marL="514251" indent="-514251" defTabSz="914224">
              <a:buFont typeface="+mj-lt"/>
              <a:buAutoNum type="arabicPeriod"/>
              <a:defRPr/>
            </a:pPr>
            <a:r>
              <a:rPr lang="en-US" sz="4000" kern="0" dirty="0">
                <a:solidFill>
                  <a:srgbClr val="C00000"/>
                </a:solidFill>
                <a:latin typeface="Segoe UI Light"/>
              </a:rPr>
              <a:t>Create Pipeline</a:t>
            </a:r>
            <a:r>
              <a:rPr lang="en-US" sz="4000" kern="0" dirty="0">
                <a:solidFill>
                  <a:sysClr val="windowText" lastClr="000000"/>
                </a:solidFill>
                <a:latin typeface="Segoe UI Light"/>
              </a:rPr>
              <a:t>: Define Activities</a:t>
            </a:r>
            <a:r>
              <a:rPr lang="en-US" sz="4000" kern="0" dirty="0">
                <a:solidFill>
                  <a:srgbClr val="C00000"/>
                </a:solidFill>
                <a:latin typeface="Segoe UI Light"/>
              </a:rPr>
              <a:t> </a:t>
            </a:r>
          </a:p>
          <a:p>
            <a:pPr marL="514251" indent="-514251" defTabSz="914224">
              <a:buFont typeface="+mj-lt"/>
              <a:buAutoNum type="arabicPeriod"/>
              <a:defRPr/>
            </a:pPr>
            <a:r>
              <a:rPr lang="en-US" sz="4000" kern="0" dirty="0">
                <a:solidFill>
                  <a:srgbClr val="C00000"/>
                </a:solidFill>
                <a:latin typeface="Segoe UI Light"/>
              </a:rPr>
              <a:t>Monitor and Manage</a:t>
            </a:r>
            <a:r>
              <a:rPr lang="en-US" sz="4000" kern="0" dirty="0">
                <a:solidFill>
                  <a:sysClr val="windowText" lastClr="000000"/>
                </a:solidFill>
                <a:latin typeface="Segoe UI Light"/>
              </a:rPr>
              <a:t>: Portal or PowerShell, Alerts and Metrics</a:t>
            </a:r>
          </a:p>
        </p:txBody>
      </p:sp>
    </p:spTree>
    <p:extLst>
      <p:ext uri="{BB962C8B-B14F-4D97-AF65-F5344CB8AC3E}">
        <p14:creationId xmlns:p14="http://schemas.microsoft.com/office/powerpoint/2010/main" val="298242079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fade">
                                      <p:cBhvr>
                                        <p:cTn id="7" dur="500"/>
                                        <p:tgtEl>
                                          <p:spTgt spid="5">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2" end="2"/>
                                            </p:txEl>
                                          </p:spTgt>
                                        </p:tgtEl>
                                        <p:attrNameLst>
                                          <p:attrName>style.visibility</p:attrName>
                                        </p:attrNameLst>
                                      </p:cBhvr>
                                      <p:to>
                                        <p:strVal val="visible"/>
                                      </p:to>
                                    </p:set>
                                    <p:animEffect transition="in" filter="fade">
                                      <p:cBhvr>
                                        <p:cTn id="12" dur="500"/>
                                        <p:tgtEl>
                                          <p:spTgt spid="5">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xEl>
                                              <p:pRg st="3" end="3"/>
                                            </p:txEl>
                                          </p:spTgt>
                                        </p:tgtEl>
                                        <p:attrNameLst>
                                          <p:attrName>style.visibility</p:attrName>
                                        </p:attrNameLst>
                                      </p:cBhvr>
                                      <p:to>
                                        <p:strVal val="visible"/>
                                      </p:to>
                                    </p:set>
                                    <p:animEffect transition="in" filter="fade">
                                      <p:cBhvr>
                                        <p:cTn id="17" dur="500"/>
                                        <p:tgtEl>
                                          <p:spTgt spid="5">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
                                            <p:txEl>
                                              <p:pRg st="4" end="4"/>
                                            </p:txEl>
                                          </p:spTgt>
                                        </p:tgtEl>
                                        <p:attrNameLst>
                                          <p:attrName>style.visibility</p:attrName>
                                        </p:attrNameLst>
                                      </p:cBhvr>
                                      <p:to>
                                        <p:strVal val="visible"/>
                                      </p:to>
                                    </p:set>
                                    <p:animEffect transition="in" filter="fade">
                                      <p:cBhvr>
                                        <p:cTn id="22" dur="500"/>
                                        <p:tgtEl>
                                          <p:spTgt spid="5">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Effect transition="in" filter="fade">
                                      <p:cBhvr>
                                        <p:cTn id="2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90500"/>
            <a:ext cx="4924425" cy="969963"/>
          </a:xfrm>
        </p:spPr>
        <p:txBody>
          <a:bodyPr vert="horz" lIns="186521" tIns="46630" rIns="186521" bIns="46630" rtlCol="0" anchor="t">
            <a:noAutofit/>
          </a:bodyPr>
          <a:lstStyle/>
          <a:p>
            <a:r>
              <a:rPr lang="en-US" dirty="0">
                <a:solidFill>
                  <a:schemeClr val="bg1"/>
                </a:solidFill>
              </a:rPr>
              <a:t>1. Design Process</a:t>
            </a:r>
          </a:p>
        </p:txBody>
      </p:sp>
      <p:sp>
        <p:nvSpPr>
          <p:cNvPr id="3" name="Title 1"/>
          <p:cNvSpPr txBox="1">
            <a:spLocks/>
          </p:cNvSpPr>
          <p:nvPr/>
        </p:nvSpPr>
        <p:spPr>
          <a:xfrm>
            <a:off x="891977" y="2163877"/>
            <a:ext cx="10337431" cy="257034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5399" dirty="0">
                <a:solidFill>
                  <a:schemeClr val="bg1"/>
                </a:solidFill>
              </a:rPr>
              <a:t>Define data sources, processing requirements, and output – also management and monitoring</a:t>
            </a:r>
          </a:p>
        </p:txBody>
      </p:sp>
    </p:spTree>
    <p:extLst>
      <p:ext uri="{BB962C8B-B14F-4D97-AF65-F5344CB8AC3E}">
        <p14:creationId xmlns:p14="http://schemas.microsoft.com/office/powerpoint/2010/main" val="3478190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3"/>
            <a:ext cx="11884506" cy="1086935"/>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Example - Churn</a:t>
            </a:r>
          </a:p>
        </p:txBody>
      </p:sp>
      <p:sp>
        <p:nvSpPr>
          <p:cNvPr id="112" name="Rectangle 111"/>
          <p:cNvSpPr/>
          <p:nvPr/>
        </p:nvSpPr>
        <p:spPr bwMode="auto">
          <a:xfrm>
            <a:off x="2713534" y="5221396"/>
            <a:ext cx="6857027" cy="1240448"/>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algn="ctr" defTabSz="950778">
              <a:defRPr/>
            </a:pPr>
            <a:endParaRPr lang="en-US" sz="1632" kern="0" dirty="0">
              <a:solidFill>
                <a:srgbClr val="505050"/>
              </a:solidFill>
              <a:latin typeface="Segoe UI"/>
              <a:ea typeface="Segoe UI" pitchFamily="34" charset="0"/>
              <a:cs typeface="Segoe UI" pitchFamily="34" charset="0"/>
            </a:endParaRPr>
          </a:p>
        </p:txBody>
      </p:sp>
      <p:sp>
        <p:nvSpPr>
          <p:cNvPr id="114" name="TextBox 113"/>
          <p:cNvSpPr txBox="1"/>
          <p:nvPr/>
        </p:nvSpPr>
        <p:spPr>
          <a:xfrm>
            <a:off x="3065234" y="6093766"/>
            <a:ext cx="2241153" cy="499037"/>
          </a:xfrm>
          <a:prstGeom prst="rect">
            <a:avLst/>
          </a:prstGeom>
          <a:noFill/>
        </p:spPr>
        <p:txBody>
          <a:bodyPr wrap="square" lIns="186494" tIns="149196" rIns="186494" bIns="149196" rtlCol="0">
            <a:spAutoFit/>
          </a:bodyPr>
          <a:lstStyle/>
          <a:p>
            <a:pPr defTabSz="914224">
              <a:lnSpc>
                <a:spcPct val="90000"/>
              </a:lnSpc>
              <a:spcAft>
                <a:spcPts val="612"/>
              </a:spcAft>
              <a:defRPr/>
            </a:pPr>
            <a:r>
              <a:rPr lang="en-US" sz="1428" kern="0" dirty="0">
                <a:gradFill>
                  <a:gsLst>
                    <a:gs pos="2917">
                      <a:srgbClr val="505050"/>
                    </a:gs>
                    <a:gs pos="30000">
                      <a:srgbClr val="505050"/>
                    </a:gs>
                  </a:gsLst>
                  <a:lin ang="5400000" scaled="0"/>
                </a:gradFill>
              </a:rPr>
              <a:t>Azure Blob Storage</a:t>
            </a:r>
          </a:p>
        </p:txBody>
      </p:sp>
      <p:pic>
        <p:nvPicPr>
          <p:cNvPr id="113" name="Picture 1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89724" y="6045332"/>
            <a:ext cx="416513" cy="416513"/>
          </a:xfrm>
          <a:prstGeom prst="rect">
            <a:avLst/>
          </a:prstGeom>
        </p:spPr>
      </p:pic>
      <p:sp>
        <p:nvSpPr>
          <p:cNvPr id="115" name="Rectangle 114"/>
          <p:cNvSpPr/>
          <p:nvPr/>
        </p:nvSpPr>
        <p:spPr bwMode="auto">
          <a:xfrm>
            <a:off x="2713535" y="3746084"/>
            <a:ext cx="1676162" cy="1766529"/>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algn="ctr" defTabSz="950778">
              <a:defRPr/>
            </a:pPr>
            <a:endParaRPr lang="en-US" sz="1632" kern="0" dirty="0">
              <a:solidFill>
                <a:srgbClr val="505050"/>
              </a:solidFill>
              <a:latin typeface="Segoe UI"/>
              <a:ea typeface="Segoe UI" pitchFamily="34" charset="0"/>
              <a:cs typeface="Segoe UI" pitchFamily="34" charset="0"/>
            </a:endParaRPr>
          </a:p>
        </p:txBody>
      </p:sp>
      <p:sp>
        <p:nvSpPr>
          <p:cNvPr id="116" name="Rectangle 115"/>
          <p:cNvSpPr/>
          <p:nvPr/>
        </p:nvSpPr>
        <p:spPr>
          <a:xfrm>
            <a:off x="2789724" y="4027900"/>
            <a:ext cx="1407513"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endParaRPr lang="en-US" sz="1223" kern="0" dirty="0">
              <a:solidFill>
                <a:prstClr val="black"/>
              </a:solidFill>
              <a:latin typeface="Segoe UI"/>
            </a:endParaRPr>
          </a:p>
        </p:txBody>
      </p:sp>
      <p:sp>
        <p:nvSpPr>
          <p:cNvPr id="117" name="Rectangle 116"/>
          <p:cNvSpPr/>
          <p:nvPr/>
        </p:nvSpPr>
        <p:spPr>
          <a:xfrm>
            <a:off x="2859794" y="4102549"/>
            <a:ext cx="1407513"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endParaRPr lang="en-US" sz="1223" kern="0" dirty="0">
              <a:solidFill>
                <a:prstClr val="black"/>
              </a:solidFill>
              <a:latin typeface="Segoe UI"/>
            </a:endParaRPr>
          </a:p>
        </p:txBody>
      </p:sp>
      <p:sp>
        <p:nvSpPr>
          <p:cNvPr id="118" name="Rectangle 117"/>
          <p:cNvSpPr/>
          <p:nvPr/>
        </p:nvSpPr>
        <p:spPr>
          <a:xfrm>
            <a:off x="2935044" y="4178190"/>
            <a:ext cx="1407513"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3" kern="0" dirty="0">
                <a:solidFill>
                  <a:prstClr val="black"/>
                </a:solidFill>
                <a:latin typeface="Segoe UI"/>
              </a:rPr>
              <a:t>Call Log Files</a:t>
            </a:r>
          </a:p>
        </p:txBody>
      </p:sp>
      <p:sp>
        <p:nvSpPr>
          <p:cNvPr id="119" name="Rectangle 118"/>
          <p:cNvSpPr/>
          <p:nvPr/>
        </p:nvSpPr>
        <p:spPr>
          <a:xfrm>
            <a:off x="2835483" y="4762721"/>
            <a:ext cx="1456133"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3" kern="0" dirty="0">
                <a:solidFill>
                  <a:prstClr val="black"/>
                </a:solidFill>
                <a:latin typeface="Segoe UI"/>
              </a:rPr>
              <a:t>Customer Table</a:t>
            </a:r>
          </a:p>
        </p:txBody>
      </p:sp>
      <p:cxnSp>
        <p:nvCxnSpPr>
          <p:cNvPr id="120" name="Elbow Connector 119"/>
          <p:cNvCxnSpPr>
            <a:endCxn id="119" idx="1"/>
          </p:cNvCxnSpPr>
          <p:nvPr/>
        </p:nvCxnSpPr>
        <p:spPr>
          <a:xfrm flipV="1">
            <a:off x="1878825" y="4953964"/>
            <a:ext cx="956658" cy="383346"/>
          </a:xfrm>
          <a:prstGeom prst="bentConnector3">
            <a:avLst/>
          </a:prstGeom>
          <a:noFill/>
          <a:ln w="9525" cap="flat" cmpd="sng" algn="ctr">
            <a:solidFill>
              <a:srgbClr val="505050"/>
            </a:solidFill>
            <a:prstDash val="dash"/>
            <a:headEnd type="none"/>
            <a:tailEnd type="triangle"/>
          </a:ln>
          <a:effectLst/>
        </p:spPr>
      </p:cxnSp>
      <p:cxnSp>
        <p:nvCxnSpPr>
          <p:cNvPr id="121" name="Straight Connector 120"/>
          <p:cNvCxnSpPr/>
          <p:nvPr/>
        </p:nvCxnSpPr>
        <p:spPr>
          <a:xfrm flipV="1">
            <a:off x="1722084" y="4293793"/>
            <a:ext cx="976085" cy="7769"/>
          </a:xfrm>
          <a:prstGeom prst="line">
            <a:avLst/>
          </a:prstGeom>
          <a:noFill/>
          <a:ln w="9525" cap="flat" cmpd="sng" algn="ctr">
            <a:solidFill>
              <a:srgbClr val="505050"/>
            </a:solidFill>
            <a:prstDash val="dash"/>
            <a:headEnd type="none"/>
            <a:tailEnd type="triangle"/>
          </a:ln>
          <a:effectLst/>
        </p:spPr>
      </p:cxnSp>
      <p:sp>
        <p:nvSpPr>
          <p:cNvPr id="124" name="Rectangle 123"/>
          <p:cNvSpPr/>
          <p:nvPr/>
        </p:nvSpPr>
        <p:spPr bwMode="auto">
          <a:xfrm>
            <a:off x="403180" y="4992829"/>
            <a:ext cx="1781494" cy="1245625"/>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algn="ctr" defTabSz="950778">
              <a:defRPr/>
            </a:pPr>
            <a:endParaRPr lang="en-US" sz="1632" kern="0" dirty="0">
              <a:solidFill>
                <a:srgbClr val="505050"/>
              </a:solidFill>
              <a:latin typeface="Segoe UI"/>
              <a:ea typeface="Segoe UI" pitchFamily="34" charset="0"/>
              <a:cs typeface="Segoe UI" pitchFamily="34" charset="0"/>
            </a:endParaRPr>
          </a:p>
        </p:txBody>
      </p:sp>
      <p:sp>
        <p:nvSpPr>
          <p:cNvPr id="125" name="TextBox 124"/>
          <p:cNvSpPr txBox="1"/>
          <p:nvPr/>
        </p:nvSpPr>
        <p:spPr>
          <a:xfrm>
            <a:off x="431758" y="5444171"/>
            <a:ext cx="1795361" cy="783148"/>
          </a:xfrm>
          <a:prstGeom prst="rect">
            <a:avLst/>
          </a:prstGeom>
          <a:noFill/>
        </p:spPr>
        <p:txBody>
          <a:bodyPr wrap="square" lIns="186494" tIns="149196" rIns="186494" bIns="149196" rtlCol="0">
            <a:spAutoFit/>
          </a:bodyPr>
          <a:lstStyle/>
          <a:p>
            <a:pPr defTabSz="914224">
              <a:lnSpc>
                <a:spcPct val="90000"/>
              </a:lnSpc>
              <a:spcAft>
                <a:spcPts val="612"/>
              </a:spcAft>
              <a:defRPr/>
            </a:pPr>
            <a:r>
              <a:rPr lang="en-US" sz="1428" kern="0" dirty="0">
                <a:gradFill>
                  <a:gsLst>
                    <a:gs pos="2917">
                      <a:srgbClr val="505050"/>
                    </a:gs>
                    <a:gs pos="30000">
                      <a:srgbClr val="505050"/>
                    </a:gs>
                  </a:gsLst>
                  <a:lin ang="5400000" scaled="0"/>
                </a:gradFill>
              </a:rPr>
              <a:t>On Premises </a:t>
            </a:r>
          </a:p>
          <a:p>
            <a:pPr defTabSz="914224">
              <a:lnSpc>
                <a:spcPct val="90000"/>
              </a:lnSpc>
              <a:spcAft>
                <a:spcPts val="612"/>
              </a:spcAft>
              <a:defRPr/>
            </a:pPr>
            <a:r>
              <a:rPr lang="en-US" sz="1428" kern="0" dirty="0">
                <a:gradFill>
                  <a:gsLst>
                    <a:gs pos="2917">
                      <a:srgbClr val="505050"/>
                    </a:gs>
                    <a:gs pos="30000">
                      <a:srgbClr val="505050"/>
                    </a:gs>
                  </a:gsLst>
                  <a:lin ang="5400000" scaled="0"/>
                </a:gradFill>
              </a:rPr>
              <a:t>Data Mart</a:t>
            </a:r>
          </a:p>
        </p:txBody>
      </p:sp>
      <p:sp>
        <p:nvSpPr>
          <p:cNvPr id="126" name="Rectangle 125"/>
          <p:cNvSpPr/>
          <p:nvPr/>
        </p:nvSpPr>
        <p:spPr>
          <a:xfrm>
            <a:off x="599049" y="4132652"/>
            <a:ext cx="1092808"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3" kern="0" dirty="0">
                <a:solidFill>
                  <a:prstClr val="black"/>
                </a:solidFill>
                <a:latin typeface="Segoe UI"/>
              </a:rPr>
              <a:t>Call Log Files</a:t>
            </a:r>
          </a:p>
        </p:txBody>
      </p:sp>
      <p:grpSp>
        <p:nvGrpSpPr>
          <p:cNvPr id="127" name="Group 126"/>
          <p:cNvGrpSpPr/>
          <p:nvPr/>
        </p:nvGrpSpPr>
        <p:grpSpPr>
          <a:xfrm>
            <a:off x="381944" y="3681301"/>
            <a:ext cx="313999" cy="761892"/>
            <a:chOff x="646394" y="1973262"/>
            <a:chExt cx="434136" cy="969472"/>
          </a:xfrm>
        </p:grpSpPr>
        <p:sp>
          <p:nvSpPr>
            <p:cNvPr id="129" name="Flowchart: Connector 128"/>
            <p:cNvSpPr/>
            <p:nvPr/>
          </p:nvSpPr>
          <p:spPr bwMode="auto">
            <a:xfrm>
              <a:off x="722593" y="2333134"/>
              <a:ext cx="195122" cy="195122"/>
            </a:xfrm>
            <a:prstGeom prst="flowChartConnector">
              <a:avLst/>
            </a:prstGeom>
            <a:solidFill>
              <a:srgbClr val="FFFFFF">
                <a:lumMod val="50000"/>
              </a:srgbClr>
            </a:solidFill>
            <a:ln w="9525" cap="flat" cmpd="sng" algn="ctr">
              <a:noFill/>
              <a:prstDash val="solid"/>
              <a:headEnd type="none" w="med" len="med"/>
              <a:tailEnd type="none" w="med" len="med"/>
            </a:ln>
            <a:effectLst/>
          </p:spPr>
          <p:txBody>
            <a:bodyPr lIns="91427" tIns="91427" rIns="34289" bIns="34289" rtlCol="0" anchor="b" anchorCtr="0"/>
            <a:lstStyle/>
            <a:p>
              <a:pPr algn="ctr" defTabSz="932227">
                <a:defRPr/>
              </a:pP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30" name="Straight Connector 129"/>
            <p:cNvCxnSpPr>
              <a:stCxn id="129" idx="3"/>
            </p:cNvCxnSpPr>
            <p:nvPr/>
          </p:nvCxnSpPr>
          <p:spPr>
            <a:xfrm flipH="1">
              <a:off x="646394" y="2499681"/>
              <a:ext cx="104774" cy="443053"/>
            </a:xfrm>
            <a:prstGeom prst="line">
              <a:avLst/>
            </a:prstGeom>
            <a:noFill/>
            <a:ln w="38100" cap="flat" cmpd="sng" algn="ctr">
              <a:solidFill>
                <a:srgbClr val="FFFFFF">
                  <a:lumMod val="65000"/>
                </a:srgbClr>
              </a:solidFill>
              <a:prstDash val="solid"/>
              <a:headEnd type="none"/>
              <a:tailEnd type="none"/>
            </a:ln>
            <a:effectLst/>
          </p:spPr>
        </p:cxnSp>
        <p:cxnSp>
          <p:nvCxnSpPr>
            <p:cNvPr id="131" name="Straight Connector 130"/>
            <p:cNvCxnSpPr/>
            <p:nvPr/>
          </p:nvCxnSpPr>
          <p:spPr>
            <a:xfrm>
              <a:off x="884237" y="2494778"/>
              <a:ext cx="109678" cy="414478"/>
            </a:xfrm>
            <a:prstGeom prst="line">
              <a:avLst/>
            </a:prstGeom>
            <a:noFill/>
            <a:ln w="38100" cap="flat" cmpd="sng" algn="ctr">
              <a:solidFill>
                <a:srgbClr val="FFFFFF">
                  <a:lumMod val="65000"/>
                </a:srgbClr>
              </a:solidFill>
              <a:prstDash val="solid"/>
              <a:headEnd type="none"/>
              <a:tailEnd type="none"/>
            </a:ln>
            <a:effectLst/>
          </p:spPr>
        </p:cxnSp>
        <p:cxnSp>
          <p:nvCxnSpPr>
            <p:cNvPr id="132" name="Straight Connector 131"/>
            <p:cNvCxnSpPr/>
            <p:nvPr/>
          </p:nvCxnSpPr>
          <p:spPr>
            <a:xfrm>
              <a:off x="722593" y="2680656"/>
              <a:ext cx="195122" cy="0"/>
            </a:xfrm>
            <a:prstGeom prst="line">
              <a:avLst/>
            </a:prstGeom>
            <a:noFill/>
            <a:ln w="9525" cap="flat" cmpd="sng" algn="ctr">
              <a:solidFill>
                <a:srgbClr val="FFFFFF">
                  <a:lumMod val="65000"/>
                </a:srgbClr>
              </a:solidFill>
              <a:prstDash val="solid"/>
              <a:headEnd type="none"/>
              <a:tailEnd type="none"/>
            </a:ln>
            <a:effectLst/>
          </p:spPr>
        </p:cxnSp>
        <p:cxnSp>
          <p:nvCxnSpPr>
            <p:cNvPr id="133" name="Straight Connector 132"/>
            <p:cNvCxnSpPr/>
            <p:nvPr/>
          </p:nvCxnSpPr>
          <p:spPr>
            <a:xfrm>
              <a:off x="722593" y="2604456"/>
              <a:ext cx="195122" cy="0"/>
            </a:xfrm>
            <a:prstGeom prst="line">
              <a:avLst/>
            </a:prstGeom>
            <a:noFill/>
            <a:ln w="9525" cap="flat" cmpd="sng" algn="ctr">
              <a:solidFill>
                <a:srgbClr val="FFFFFF">
                  <a:lumMod val="65000"/>
                </a:srgbClr>
              </a:solidFill>
              <a:prstDash val="solid"/>
              <a:headEnd type="none"/>
              <a:tailEnd type="none"/>
            </a:ln>
            <a:effectLst/>
          </p:spPr>
        </p:cxnSp>
        <p:cxnSp>
          <p:nvCxnSpPr>
            <p:cNvPr id="134" name="Straight Connector 133"/>
            <p:cNvCxnSpPr/>
            <p:nvPr/>
          </p:nvCxnSpPr>
          <p:spPr>
            <a:xfrm flipV="1">
              <a:off x="884237" y="2071056"/>
              <a:ext cx="33478" cy="152400"/>
            </a:xfrm>
            <a:prstGeom prst="line">
              <a:avLst/>
            </a:prstGeom>
            <a:noFill/>
            <a:ln w="9525" cap="flat" cmpd="sng" algn="ctr">
              <a:solidFill>
                <a:srgbClr val="505050"/>
              </a:solidFill>
              <a:prstDash val="solid"/>
              <a:headEnd type="none"/>
              <a:tailEnd type="none"/>
            </a:ln>
            <a:effectLst/>
          </p:spPr>
        </p:cxnSp>
        <p:cxnSp>
          <p:nvCxnSpPr>
            <p:cNvPr id="135" name="Straight Connector 134"/>
            <p:cNvCxnSpPr/>
            <p:nvPr/>
          </p:nvCxnSpPr>
          <p:spPr>
            <a:xfrm flipV="1">
              <a:off x="993915" y="1973262"/>
              <a:ext cx="33478" cy="152400"/>
            </a:xfrm>
            <a:prstGeom prst="line">
              <a:avLst/>
            </a:prstGeom>
            <a:noFill/>
            <a:ln w="9525" cap="flat" cmpd="sng" algn="ctr">
              <a:solidFill>
                <a:srgbClr val="505050"/>
              </a:solidFill>
              <a:prstDash val="solid"/>
              <a:headEnd type="none"/>
              <a:tailEnd type="none"/>
            </a:ln>
            <a:effectLst/>
          </p:spPr>
        </p:cxnSp>
        <p:cxnSp>
          <p:nvCxnSpPr>
            <p:cNvPr id="136" name="Straight Connector 135"/>
            <p:cNvCxnSpPr/>
            <p:nvPr/>
          </p:nvCxnSpPr>
          <p:spPr>
            <a:xfrm flipH="1" flipV="1">
              <a:off x="917715" y="2071056"/>
              <a:ext cx="92939" cy="54606"/>
            </a:xfrm>
            <a:prstGeom prst="line">
              <a:avLst/>
            </a:prstGeom>
            <a:noFill/>
            <a:ln w="9525" cap="flat" cmpd="sng" algn="ctr">
              <a:solidFill>
                <a:srgbClr val="505050"/>
              </a:solidFill>
              <a:prstDash val="solid"/>
              <a:headEnd type="none"/>
              <a:tailEnd type="none"/>
            </a:ln>
            <a:effectLst/>
          </p:spPr>
        </p:cxnSp>
        <p:cxnSp>
          <p:nvCxnSpPr>
            <p:cNvPr id="137" name="Straight Connector 136"/>
            <p:cNvCxnSpPr/>
            <p:nvPr/>
          </p:nvCxnSpPr>
          <p:spPr>
            <a:xfrm flipV="1">
              <a:off x="937374" y="2173381"/>
              <a:ext cx="33478" cy="152400"/>
            </a:xfrm>
            <a:prstGeom prst="line">
              <a:avLst/>
            </a:prstGeom>
            <a:noFill/>
            <a:ln w="9525" cap="flat" cmpd="sng" algn="ctr">
              <a:solidFill>
                <a:srgbClr val="505050"/>
              </a:solidFill>
              <a:prstDash val="solid"/>
              <a:headEnd type="none"/>
              <a:tailEnd type="none"/>
            </a:ln>
            <a:effectLst/>
          </p:spPr>
        </p:cxnSp>
        <p:cxnSp>
          <p:nvCxnSpPr>
            <p:cNvPr id="138" name="Straight Connector 137"/>
            <p:cNvCxnSpPr/>
            <p:nvPr/>
          </p:nvCxnSpPr>
          <p:spPr>
            <a:xfrm flipV="1">
              <a:off x="1047052" y="2075587"/>
              <a:ext cx="33478" cy="152400"/>
            </a:xfrm>
            <a:prstGeom prst="line">
              <a:avLst/>
            </a:prstGeom>
            <a:noFill/>
            <a:ln w="9525" cap="flat" cmpd="sng" algn="ctr">
              <a:solidFill>
                <a:srgbClr val="505050"/>
              </a:solidFill>
              <a:prstDash val="solid"/>
              <a:headEnd type="none"/>
              <a:tailEnd type="none"/>
            </a:ln>
            <a:effectLst/>
          </p:spPr>
        </p:cxnSp>
        <p:cxnSp>
          <p:nvCxnSpPr>
            <p:cNvPr id="139" name="Straight Connector 138"/>
            <p:cNvCxnSpPr/>
            <p:nvPr/>
          </p:nvCxnSpPr>
          <p:spPr>
            <a:xfrm flipH="1" flipV="1">
              <a:off x="970852" y="2173381"/>
              <a:ext cx="92939" cy="54606"/>
            </a:xfrm>
            <a:prstGeom prst="line">
              <a:avLst/>
            </a:prstGeom>
            <a:noFill/>
            <a:ln w="9525" cap="flat" cmpd="sng" algn="ctr">
              <a:solidFill>
                <a:srgbClr val="505050"/>
              </a:solidFill>
              <a:prstDash val="solid"/>
              <a:headEnd type="none"/>
              <a:tailEnd type="none"/>
            </a:ln>
            <a:effectLst/>
          </p:spPr>
        </p:cxnSp>
      </p:grpSp>
      <p:sp>
        <p:nvSpPr>
          <p:cNvPr id="128" name="Rectangle 127"/>
          <p:cNvSpPr/>
          <p:nvPr/>
        </p:nvSpPr>
        <p:spPr>
          <a:xfrm>
            <a:off x="578599" y="5123112"/>
            <a:ext cx="1301318"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3" kern="0" dirty="0">
                <a:solidFill>
                  <a:prstClr val="black"/>
                </a:solidFill>
                <a:latin typeface="Segoe UI"/>
              </a:rPr>
              <a:t>Customer Table</a:t>
            </a:r>
          </a:p>
        </p:txBody>
      </p:sp>
      <p:sp>
        <p:nvSpPr>
          <p:cNvPr id="141" name="Rectangle 140"/>
          <p:cNvSpPr/>
          <p:nvPr/>
        </p:nvSpPr>
        <p:spPr bwMode="auto">
          <a:xfrm>
            <a:off x="9741795" y="5221396"/>
            <a:ext cx="2081788" cy="1240448"/>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algn="ctr" defTabSz="950778">
              <a:defRPr/>
            </a:pPr>
            <a:endParaRPr lang="en-US" sz="1632" kern="0" dirty="0">
              <a:solidFill>
                <a:srgbClr val="505050"/>
              </a:solidFill>
              <a:latin typeface="Segoe UI"/>
              <a:ea typeface="Segoe UI" pitchFamily="34" charset="0"/>
              <a:cs typeface="Segoe UI" pitchFamily="34" charset="0"/>
            </a:endParaRPr>
          </a:p>
        </p:txBody>
      </p:sp>
      <p:sp>
        <p:nvSpPr>
          <p:cNvPr id="142" name="TextBox 141"/>
          <p:cNvSpPr txBox="1"/>
          <p:nvPr/>
        </p:nvSpPr>
        <p:spPr>
          <a:xfrm>
            <a:off x="10119247" y="6093765"/>
            <a:ext cx="1203667" cy="499037"/>
          </a:xfrm>
          <a:prstGeom prst="rect">
            <a:avLst/>
          </a:prstGeom>
          <a:noFill/>
        </p:spPr>
        <p:txBody>
          <a:bodyPr wrap="square" lIns="186494" tIns="149196" rIns="186494" bIns="149196" rtlCol="0">
            <a:spAutoFit/>
          </a:bodyPr>
          <a:lstStyle/>
          <a:p>
            <a:pPr defTabSz="914224">
              <a:lnSpc>
                <a:spcPct val="90000"/>
              </a:lnSpc>
              <a:spcAft>
                <a:spcPts val="612"/>
              </a:spcAft>
              <a:defRPr/>
            </a:pPr>
            <a:r>
              <a:rPr lang="en-US" sz="1428" kern="0" dirty="0">
                <a:gradFill>
                  <a:gsLst>
                    <a:gs pos="2917">
                      <a:srgbClr val="505050"/>
                    </a:gs>
                    <a:gs pos="30000">
                      <a:srgbClr val="505050"/>
                    </a:gs>
                  </a:gsLst>
                  <a:lin ang="5400000" scaled="0"/>
                </a:gradFill>
              </a:rPr>
              <a:t>Azure DB</a:t>
            </a:r>
          </a:p>
        </p:txBody>
      </p:sp>
      <p:pic>
        <p:nvPicPr>
          <p:cNvPr id="143" name="Picture 1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33374" y="6059477"/>
            <a:ext cx="388647" cy="388647"/>
          </a:xfrm>
          <a:prstGeom prst="rect">
            <a:avLst/>
          </a:prstGeom>
        </p:spPr>
      </p:pic>
      <p:cxnSp>
        <p:nvCxnSpPr>
          <p:cNvPr id="144" name="Straight Connector 143"/>
          <p:cNvCxnSpPr/>
          <p:nvPr/>
        </p:nvCxnSpPr>
        <p:spPr>
          <a:xfrm>
            <a:off x="9761291" y="4789195"/>
            <a:ext cx="547895" cy="854058"/>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45" name="Rectangle 144"/>
          <p:cNvSpPr/>
          <p:nvPr/>
        </p:nvSpPr>
        <p:spPr>
          <a:xfrm>
            <a:off x="10338148" y="5419338"/>
            <a:ext cx="1060955" cy="589809"/>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3" kern="0" dirty="0">
                <a:solidFill>
                  <a:prstClr val="black"/>
                </a:solidFill>
                <a:latin typeface="Segoe UI"/>
              </a:rPr>
              <a:t>Customer Churn Table</a:t>
            </a:r>
          </a:p>
        </p:txBody>
      </p:sp>
      <p:sp>
        <p:nvSpPr>
          <p:cNvPr id="146" name="Rounded Rectangle 145"/>
          <p:cNvSpPr/>
          <p:nvPr/>
        </p:nvSpPr>
        <p:spPr bwMode="auto">
          <a:xfrm>
            <a:off x="10484831" y="4005510"/>
            <a:ext cx="1405177" cy="758750"/>
          </a:xfrm>
          <a:prstGeom prst="roundRect">
            <a:avLst/>
          </a:prstGeom>
          <a:no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7" name="TextBox 146"/>
          <p:cNvSpPr txBox="1"/>
          <p:nvPr/>
        </p:nvSpPr>
        <p:spPr>
          <a:xfrm>
            <a:off x="10802915" y="4148281"/>
            <a:ext cx="1281387" cy="690680"/>
          </a:xfrm>
          <a:prstGeom prst="rect">
            <a:avLst/>
          </a:prstGeom>
          <a:noFill/>
        </p:spPr>
        <p:txBody>
          <a:bodyPr wrap="square" lIns="182854" tIns="146283" rIns="182854" bIns="146283" rtlCol="0">
            <a:spAutoFit/>
          </a:bodyPr>
          <a:lstStyle/>
          <a:p>
            <a:pPr defTabSz="914224">
              <a:lnSpc>
                <a:spcPct val="90000"/>
              </a:lnSpc>
              <a:spcAft>
                <a:spcPts val="600"/>
              </a:spcAft>
              <a:defRPr/>
            </a:pPr>
            <a:r>
              <a:rPr lang="en-US" sz="1399" kern="0" dirty="0">
                <a:gradFill>
                  <a:gsLst>
                    <a:gs pos="2917">
                      <a:srgbClr val="505050"/>
                    </a:gs>
                    <a:gs pos="30000">
                      <a:srgbClr val="505050"/>
                    </a:gs>
                  </a:gsLst>
                  <a:lin ang="5400000" scaled="0"/>
                </a:gradFill>
              </a:rPr>
              <a:t>Act (Visualize)</a:t>
            </a:r>
          </a:p>
        </p:txBody>
      </p:sp>
      <p:pic>
        <p:nvPicPr>
          <p:cNvPr id="148" name="Picture 147"/>
          <p:cNvPicPr>
            <a:picLocks noChangeAspect="1"/>
          </p:cNvPicPr>
          <p:nvPr/>
        </p:nvPicPr>
        <p:blipFill>
          <a:blip r:embed="rId5"/>
          <a:stretch>
            <a:fillRect/>
          </a:stretch>
        </p:blipFill>
        <p:spPr>
          <a:xfrm>
            <a:off x="10566625" y="4225785"/>
            <a:ext cx="307448" cy="269544"/>
          </a:xfrm>
          <a:prstGeom prst="rect">
            <a:avLst/>
          </a:prstGeom>
        </p:spPr>
      </p:pic>
      <p:cxnSp>
        <p:nvCxnSpPr>
          <p:cNvPr id="149" name="Straight Arrow Connector 148"/>
          <p:cNvCxnSpPr/>
          <p:nvPr/>
        </p:nvCxnSpPr>
        <p:spPr>
          <a:xfrm flipV="1">
            <a:off x="10912367" y="4821267"/>
            <a:ext cx="0" cy="533488"/>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1" name="Rectangle 160"/>
          <p:cNvSpPr/>
          <p:nvPr/>
        </p:nvSpPr>
        <p:spPr bwMode="auto">
          <a:xfrm>
            <a:off x="4532828" y="3746084"/>
            <a:ext cx="5805320" cy="1267580"/>
          </a:xfrm>
          <a:prstGeom prst="rect">
            <a:avLst/>
          </a:prstGeom>
          <a:noFill/>
          <a:ln w="25400" cap="flat" cmpd="sng" algn="ctr">
            <a:solidFill>
              <a:srgbClr val="0078D7">
                <a:lumMod val="75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3" name="TextBox 192"/>
          <p:cNvSpPr txBox="1"/>
          <p:nvPr/>
        </p:nvSpPr>
        <p:spPr>
          <a:xfrm>
            <a:off x="427859" y="1486753"/>
            <a:ext cx="11400948" cy="882424"/>
          </a:xfrm>
          <a:prstGeom prst="rect">
            <a:avLst/>
          </a:prstGeom>
        </p:spPr>
        <p:style>
          <a:lnRef idx="2">
            <a:schemeClr val="accent4"/>
          </a:lnRef>
          <a:fillRef idx="1">
            <a:schemeClr val="lt1"/>
          </a:fillRef>
          <a:effectRef idx="0">
            <a:schemeClr val="accent4"/>
          </a:effectRef>
          <a:fontRef idx="minor">
            <a:schemeClr val="dk1"/>
          </a:fontRef>
        </p:style>
        <p:txBody>
          <a:bodyPr wrap="square" lIns="182854" tIns="146283" rIns="182854" bIns="146283" rtlCol="0">
            <a:spAutoFit/>
          </a:bodyPr>
          <a:lstStyle/>
          <a:p>
            <a:pPr defTabSz="914224">
              <a:lnSpc>
                <a:spcPct val="90000"/>
              </a:lnSpc>
              <a:spcAft>
                <a:spcPts val="600"/>
              </a:spcAft>
              <a:defRPr/>
            </a:pPr>
            <a:r>
              <a:rPr lang="en-US" kern="0" dirty="0">
                <a:solidFill>
                  <a:schemeClr val="accent4">
                    <a:lumMod val="75000"/>
                  </a:schemeClr>
                </a:solidFill>
              </a:rPr>
              <a:t>Azure Data </a:t>
            </a:r>
          </a:p>
          <a:p>
            <a:pPr defTabSz="914224">
              <a:lnSpc>
                <a:spcPct val="90000"/>
              </a:lnSpc>
              <a:spcAft>
                <a:spcPts val="600"/>
              </a:spcAft>
              <a:defRPr/>
            </a:pPr>
            <a:r>
              <a:rPr lang="en-US" kern="0" dirty="0">
                <a:solidFill>
                  <a:schemeClr val="accent4">
                    <a:lumMod val="75000"/>
                  </a:schemeClr>
                </a:solidFill>
              </a:rPr>
              <a:t>Factory:</a:t>
            </a:r>
          </a:p>
        </p:txBody>
      </p:sp>
      <p:sp>
        <p:nvSpPr>
          <p:cNvPr id="154" name="TextBox 153"/>
          <p:cNvSpPr txBox="1"/>
          <p:nvPr/>
        </p:nvSpPr>
        <p:spPr>
          <a:xfrm>
            <a:off x="5209222" y="1544718"/>
            <a:ext cx="2790927" cy="647426"/>
          </a:xfrm>
          <a:prstGeom prst="rect">
            <a:avLst/>
          </a:prstGeom>
          <a:noFill/>
        </p:spPr>
        <p:txBody>
          <a:bodyPr wrap="square" lIns="186494" tIns="149196" rIns="186494" bIns="149196" rtlCol="0">
            <a:spAutoFit/>
          </a:bodyPr>
          <a:lstStyle/>
          <a:p>
            <a:pPr defTabSz="914224">
              <a:lnSpc>
                <a:spcPct val="90000"/>
              </a:lnSpc>
              <a:defRPr/>
            </a:pPr>
            <a:r>
              <a:rPr lang="en-US" sz="1599" b="1" kern="0" dirty="0">
                <a:gradFill>
                  <a:gsLst>
                    <a:gs pos="2917">
                      <a:srgbClr val="505050"/>
                    </a:gs>
                    <a:gs pos="30000">
                      <a:srgbClr val="505050"/>
                    </a:gs>
                  </a:gsLst>
                  <a:lin ang="5400000" scaled="0"/>
                </a:gradFill>
              </a:rPr>
              <a:t>Activity</a:t>
            </a:r>
            <a:r>
              <a:rPr lang="en-US" sz="1599" kern="0" dirty="0">
                <a:gradFill>
                  <a:gsLst>
                    <a:gs pos="2917">
                      <a:srgbClr val="505050"/>
                    </a:gs>
                    <a:gs pos="30000">
                      <a:srgbClr val="505050"/>
                    </a:gs>
                  </a:gsLst>
                  <a:lin ang="5400000" scaled="0"/>
                </a:gradFill>
              </a:rPr>
              <a:t>: a processing step </a:t>
            </a:r>
          </a:p>
          <a:p>
            <a:pPr defTabSz="914224">
              <a:lnSpc>
                <a:spcPct val="90000"/>
              </a:lnSpc>
              <a:defRPr/>
            </a:pPr>
            <a:r>
              <a:rPr lang="en-US" sz="900" kern="0" dirty="0">
                <a:gradFill>
                  <a:gsLst>
                    <a:gs pos="2917">
                      <a:srgbClr val="505050"/>
                    </a:gs>
                    <a:gs pos="30000">
                      <a:srgbClr val="505050"/>
                    </a:gs>
                  </a:gsLst>
                  <a:lin ang="5400000" scaled="0"/>
                </a:gradFill>
              </a:rPr>
              <a:t>(Hadoop job, custom code, ML model, etc)</a:t>
            </a:r>
          </a:p>
        </p:txBody>
      </p:sp>
      <p:pic>
        <p:nvPicPr>
          <p:cNvPr id="158" name="Picture 157"/>
          <p:cNvPicPr>
            <a:picLocks noChangeAspect="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928756" y="1667138"/>
            <a:ext cx="416513" cy="416513"/>
          </a:xfrm>
          <a:prstGeom prst="rect">
            <a:avLst/>
          </a:prstGeom>
        </p:spPr>
      </p:pic>
      <p:pic>
        <p:nvPicPr>
          <p:cNvPr id="122" name="Picture 121"/>
          <p:cNvPicPr>
            <a:picLocks noChangeAspect="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27227" y="1667138"/>
            <a:ext cx="416513" cy="416513"/>
          </a:xfrm>
          <a:prstGeom prst="rect">
            <a:avLst/>
          </a:prstGeom>
        </p:spPr>
      </p:pic>
      <p:sp>
        <p:nvSpPr>
          <p:cNvPr id="150" name="TextBox 149"/>
          <p:cNvSpPr txBox="1"/>
          <p:nvPr/>
        </p:nvSpPr>
        <p:spPr>
          <a:xfrm>
            <a:off x="2941723" y="1544718"/>
            <a:ext cx="1328396" cy="781448"/>
          </a:xfrm>
          <a:prstGeom prst="rect">
            <a:avLst/>
          </a:prstGeom>
          <a:noFill/>
        </p:spPr>
        <p:txBody>
          <a:bodyPr wrap="square" lIns="186494" tIns="149196" rIns="186494" bIns="149196" rtlCol="0">
            <a:spAutoFit/>
          </a:bodyPr>
          <a:lstStyle/>
          <a:p>
            <a:pPr defTabSz="914224">
              <a:lnSpc>
                <a:spcPct val="90000"/>
              </a:lnSpc>
              <a:defRPr/>
            </a:pPr>
            <a:r>
              <a:rPr lang="en-US" sz="1599" b="1" kern="0" dirty="0">
                <a:gradFill>
                  <a:gsLst>
                    <a:gs pos="2917">
                      <a:srgbClr val="505050"/>
                    </a:gs>
                    <a:gs pos="30000">
                      <a:srgbClr val="505050"/>
                    </a:gs>
                  </a:gsLst>
                  <a:lin ang="5400000" scaled="0"/>
                </a:gradFill>
              </a:rPr>
              <a:t>Data Set</a:t>
            </a:r>
          </a:p>
          <a:p>
            <a:pPr defTabSz="914224">
              <a:lnSpc>
                <a:spcPct val="90000"/>
              </a:lnSpc>
              <a:defRPr/>
            </a:pPr>
            <a:r>
              <a:rPr lang="en-US" sz="900" kern="0" dirty="0">
                <a:gradFill>
                  <a:gsLst>
                    <a:gs pos="2917">
                      <a:srgbClr val="505050"/>
                    </a:gs>
                    <a:gs pos="30000">
                      <a:srgbClr val="505050"/>
                    </a:gs>
                  </a:gsLst>
                  <a:lin ang="5400000" scaled="0"/>
                </a:gradFill>
              </a:rPr>
              <a:t>(Collection of files, DB table, etc)</a:t>
            </a:r>
          </a:p>
        </p:txBody>
      </p:sp>
      <p:sp>
        <p:nvSpPr>
          <p:cNvPr id="160" name="TextBox 159"/>
          <p:cNvSpPr txBox="1"/>
          <p:nvPr/>
        </p:nvSpPr>
        <p:spPr>
          <a:xfrm>
            <a:off x="8779452" y="1559182"/>
            <a:ext cx="2848218" cy="880196"/>
          </a:xfrm>
          <a:prstGeom prst="rect">
            <a:avLst/>
          </a:prstGeom>
          <a:noFill/>
        </p:spPr>
        <p:txBody>
          <a:bodyPr wrap="square" lIns="186494" tIns="149196" rIns="186494" bIns="149196" rtlCol="0">
            <a:spAutoFit/>
          </a:bodyPr>
          <a:lstStyle/>
          <a:p>
            <a:pPr defTabSz="914224">
              <a:lnSpc>
                <a:spcPct val="90000"/>
              </a:lnSpc>
              <a:defRPr/>
            </a:pPr>
            <a:r>
              <a:rPr lang="en-US" sz="1599" b="1" kern="0" dirty="0">
                <a:gradFill>
                  <a:gsLst>
                    <a:gs pos="2917">
                      <a:srgbClr val="505050"/>
                    </a:gs>
                    <a:gs pos="30000">
                      <a:srgbClr val="505050"/>
                    </a:gs>
                  </a:gsLst>
                  <a:lin ang="5400000" scaled="0"/>
                </a:gradFill>
              </a:rPr>
              <a:t>Pipeline</a:t>
            </a:r>
            <a:r>
              <a:rPr lang="en-US" sz="1599" kern="0" dirty="0">
                <a:gradFill>
                  <a:gsLst>
                    <a:gs pos="2917">
                      <a:srgbClr val="505050"/>
                    </a:gs>
                    <a:gs pos="30000">
                      <a:srgbClr val="505050"/>
                    </a:gs>
                  </a:gsLst>
                  <a:lin ang="5400000" scaled="0"/>
                </a:gradFill>
              </a:rPr>
              <a:t>: a logical group of activities</a:t>
            </a:r>
          </a:p>
          <a:p>
            <a:pPr defTabSz="914224">
              <a:lnSpc>
                <a:spcPct val="90000"/>
              </a:lnSpc>
              <a:defRPr/>
            </a:pPr>
            <a:endParaRPr lang="en-US" sz="900" kern="0" dirty="0">
              <a:gradFill>
                <a:gsLst>
                  <a:gs pos="2917">
                    <a:srgbClr val="505050"/>
                  </a:gs>
                  <a:gs pos="30000">
                    <a:srgbClr val="505050"/>
                  </a:gs>
                </a:gsLst>
                <a:lin ang="5400000" scaled="0"/>
              </a:gradFill>
            </a:endParaRPr>
          </a:p>
        </p:txBody>
      </p:sp>
      <p:pic>
        <p:nvPicPr>
          <p:cNvPr id="163" name="Picture 162"/>
          <p:cNvPicPr>
            <a:picLocks noChangeAspect="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8503913" y="1722530"/>
            <a:ext cx="416513" cy="416513"/>
          </a:xfrm>
          <a:prstGeom prst="rect">
            <a:avLst/>
          </a:prstGeom>
        </p:spPr>
      </p:pic>
      <p:sp>
        <p:nvSpPr>
          <p:cNvPr id="166" name="TextBox 165"/>
          <p:cNvSpPr txBox="1"/>
          <p:nvPr/>
        </p:nvSpPr>
        <p:spPr>
          <a:xfrm>
            <a:off x="419822" y="2961579"/>
            <a:ext cx="1752352" cy="54468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defTabSz="914224">
              <a:lnSpc>
                <a:spcPct val="90000"/>
              </a:lnSpc>
              <a:spcAft>
                <a:spcPts val="600"/>
              </a:spcAft>
              <a:defRPr/>
            </a:pPr>
            <a:r>
              <a:rPr lang="en-US" kern="0" dirty="0">
                <a:solidFill>
                  <a:srgbClr val="FFFFFF"/>
                </a:solidFill>
              </a:rPr>
              <a:t>Data Sources</a:t>
            </a:r>
          </a:p>
        </p:txBody>
      </p:sp>
      <p:sp>
        <p:nvSpPr>
          <p:cNvPr id="191" name="Rectangle 190"/>
          <p:cNvSpPr/>
          <p:nvPr/>
        </p:nvSpPr>
        <p:spPr>
          <a:xfrm>
            <a:off x="8401270" y="5429887"/>
            <a:ext cx="957214" cy="594201"/>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3" kern="0" dirty="0">
                <a:solidFill>
                  <a:prstClr val="black"/>
                </a:solidFill>
                <a:latin typeface="Segoe UI"/>
              </a:rPr>
              <a:t>Customers Likely to Churn</a:t>
            </a:r>
          </a:p>
        </p:txBody>
      </p:sp>
      <p:sp>
        <p:nvSpPr>
          <p:cNvPr id="180" name="Rounded Rectangle 179"/>
          <p:cNvSpPr/>
          <p:nvPr/>
        </p:nvSpPr>
        <p:spPr bwMode="auto">
          <a:xfrm>
            <a:off x="7132508" y="4002369"/>
            <a:ext cx="1371405" cy="758750"/>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82" name="Picture 18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08789" y="4247587"/>
            <a:ext cx="313525" cy="313525"/>
          </a:xfrm>
          <a:prstGeom prst="rect">
            <a:avLst/>
          </a:prstGeom>
        </p:spPr>
      </p:pic>
      <p:cxnSp>
        <p:nvCxnSpPr>
          <p:cNvPr id="155" name="Straight Arrow Connector 154"/>
          <p:cNvCxnSpPr>
            <a:stCxn id="154" idx="2"/>
          </p:cNvCxnSpPr>
          <p:nvPr/>
        </p:nvCxnSpPr>
        <p:spPr>
          <a:xfrm flipH="1">
            <a:off x="5664792" y="2192144"/>
            <a:ext cx="939894" cy="1805828"/>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190" name="Rectangle 189"/>
          <p:cNvSpPr/>
          <p:nvPr/>
        </p:nvSpPr>
        <p:spPr>
          <a:xfrm>
            <a:off x="5985400" y="5434278"/>
            <a:ext cx="1060955" cy="589809"/>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3" kern="0" dirty="0">
                <a:solidFill>
                  <a:prstClr val="black"/>
                </a:solidFill>
                <a:latin typeface="Segoe UI"/>
              </a:rPr>
              <a:t>Customer Call Details</a:t>
            </a:r>
          </a:p>
        </p:txBody>
      </p:sp>
      <p:cxnSp>
        <p:nvCxnSpPr>
          <p:cNvPr id="184" name="Straight Connector 183"/>
          <p:cNvCxnSpPr>
            <a:stCxn id="177" idx="2"/>
            <a:endCxn id="190" idx="1"/>
          </p:cNvCxnSpPr>
          <p:nvPr/>
        </p:nvCxnSpPr>
        <p:spPr>
          <a:xfrm>
            <a:off x="5649569" y="4761120"/>
            <a:ext cx="335831" cy="968062"/>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6" name="Straight Arrow Connector 155"/>
          <p:cNvCxnSpPr>
            <a:stCxn id="154" idx="2"/>
            <a:endCxn id="180" idx="0"/>
          </p:cNvCxnSpPr>
          <p:nvPr/>
        </p:nvCxnSpPr>
        <p:spPr>
          <a:xfrm>
            <a:off x="6604686" y="2192144"/>
            <a:ext cx="1213525" cy="1810225"/>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181" name="TextBox 180"/>
          <p:cNvSpPr txBox="1"/>
          <p:nvPr/>
        </p:nvSpPr>
        <p:spPr>
          <a:xfrm>
            <a:off x="7437265" y="4165600"/>
            <a:ext cx="1065270" cy="489295"/>
          </a:xfrm>
          <a:prstGeom prst="rect">
            <a:avLst/>
          </a:prstGeom>
          <a:noFill/>
        </p:spPr>
        <p:txBody>
          <a:bodyPr wrap="square" lIns="182854" tIns="146283" rIns="182854" bIns="146283" rtlCol="0">
            <a:spAutoFit/>
          </a:bodyPr>
          <a:lstStyle/>
          <a:p>
            <a:pPr defTabSz="914224">
              <a:lnSpc>
                <a:spcPct val="90000"/>
              </a:lnSpc>
              <a:spcAft>
                <a:spcPts val="600"/>
              </a:spcAft>
              <a:defRPr/>
            </a:pPr>
            <a:r>
              <a:rPr lang="en-US" sz="1399" kern="0" dirty="0">
                <a:gradFill>
                  <a:gsLst>
                    <a:gs pos="2917">
                      <a:srgbClr val="505050"/>
                    </a:gs>
                    <a:gs pos="30000">
                      <a:srgbClr val="505050"/>
                    </a:gs>
                  </a:gsLst>
                  <a:lin ang="5400000" scaled="0"/>
                </a:gradFill>
              </a:rPr>
              <a:t>Analyze </a:t>
            </a:r>
          </a:p>
        </p:txBody>
      </p:sp>
      <p:cxnSp>
        <p:nvCxnSpPr>
          <p:cNvPr id="185" name="Straight Arrow Connector 184"/>
          <p:cNvCxnSpPr>
            <a:stCxn id="190" idx="3"/>
          </p:cNvCxnSpPr>
          <p:nvPr/>
        </p:nvCxnSpPr>
        <p:spPr>
          <a:xfrm flipV="1">
            <a:off x="7046355" y="4778853"/>
            <a:ext cx="390909" cy="950330"/>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86" name="Straight Connector 185"/>
          <p:cNvCxnSpPr/>
          <p:nvPr/>
        </p:nvCxnSpPr>
        <p:spPr>
          <a:xfrm>
            <a:off x="8051047" y="4778853"/>
            <a:ext cx="335831" cy="864401"/>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7" name="Rounded Rectangle 186"/>
          <p:cNvSpPr/>
          <p:nvPr/>
        </p:nvSpPr>
        <p:spPr bwMode="auto">
          <a:xfrm>
            <a:off x="8968679" y="4000377"/>
            <a:ext cx="1059018" cy="758750"/>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8" name="TextBox 187"/>
          <p:cNvSpPr txBox="1"/>
          <p:nvPr/>
        </p:nvSpPr>
        <p:spPr>
          <a:xfrm>
            <a:off x="9273436" y="4163608"/>
            <a:ext cx="1065270" cy="489295"/>
          </a:xfrm>
          <a:prstGeom prst="rect">
            <a:avLst/>
          </a:prstGeom>
          <a:noFill/>
        </p:spPr>
        <p:txBody>
          <a:bodyPr wrap="square" lIns="182854" tIns="146283" rIns="182854" bIns="146283" rtlCol="0">
            <a:spAutoFit/>
          </a:bodyPr>
          <a:lstStyle/>
          <a:p>
            <a:pPr defTabSz="914224">
              <a:lnSpc>
                <a:spcPct val="90000"/>
              </a:lnSpc>
              <a:spcAft>
                <a:spcPts val="600"/>
              </a:spcAft>
              <a:defRPr/>
            </a:pPr>
            <a:r>
              <a:rPr lang="en-US" sz="1399" kern="0" dirty="0">
                <a:gradFill>
                  <a:gsLst>
                    <a:gs pos="2917">
                      <a:srgbClr val="505050"/>
                    </a:gs>
                    <a:gs pos="30000">
                      <a:srgbClr val="505050"/>
                    </a:gs>
                  </a:gsLst>
                  <a:lin ang="5400000" scaled="0"/>
                </a:gradFill>
              </a:rPr>
              <a:t>Move</a:t>
            </a:r>
          </a:p>
        </p:txBody>
      </p:sp>
      <p:cxnSp>
        <p:nvCxnSpPr>
          <p:cNvPr id="189" name="Straight Arrow Connector 188"/>
          <p:cNvCxnSpPr>
            <a:endCxn id="187" idx="2"/>
          </p:cNvCxnSpPr>
          <p:nvPr/>
        </p:nvCxnSpPr>
        <p:spPr>
          <a:xfrm flipV="1">
            <a:off x="9372876" y="4759127"/>
            <a:ext cx="125312" cy="1016178"/>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7" name="Rounded Rectangle 176"/>
          <p:cNvSpPr/>
          <p:nvPr/>
        </p:nvSpPr>
        <p:spPr bwMode="auto">
          <a:xfrm>
            <a:off x="4694453" y="4002369"/>
            <a:ext cx="1910231" cy="758750"/>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78" name="Picture 17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794806" y="4150155"/>
            <a:ext cx="407255" cy="407255"/>
          </a:xfrm>
          <a:prstGeom prst="rect">
            <a:avLst/>
          </a:prstGeom>
        </p:spPr>
      </p:pic>
      <p:sp>
        <p:nvSpPr>
          <p:cNvPr id="179" name="TextBox 178"/>
          <p:cNvSpPr txBox="1"/>
          <p:nvPr/>
        </p:nvSpPr>
        <p:spPr>
          <a:xfrm>
            <a:off x="5143955" y="4038840"/>
            <a:ext cx="1607607" cy="690680"/>
          </a:xfrm>
          <a:prstGeom prst="rect">
            <a:avLst/>
          </a:prstGeom>
          <a:noFill/>
        </p:spPr>
        <p:txBody>
          <a:bodyPr wrap="square" lIns="182854" tIns="146283" rIns="182854" bIns="146283" rtlCol="0">
            <a:spAutoFit/>
          </a:bodyPr>
          <a:lstStyle/>
          <a:p>
            <a:pPr defTabSz="914224">
              <a:lnSpc>
                <a:spcPct val="90000"/>
              </a:lnSpc>
              <a:spcAft>
                <a:spcPts val="600"/>
              </a:spcAft>
              <a:defRPr/>
            </a:pPr>
            <a:r>
              <a:rPr lang="en-US" sz="1399" kern="0" dirty="0">
                <a:gradFill>
                  <a:gsLst>
                    <a:gs pos="2917">
                      <a:srgbClr val="505050"/>
                    </a:gs>
                    <a:gs pos="30000">
                      <a:srgbClr val="505050"/>
                    </a:gs>
                  </a:gsLst>
                  <a:lin ang="5400000" scaled="0"/>
                </a:gradFill>
              </a:rPr>
              <a:t>Transform, Combine, etc</a:t>
            </a:r>
          </a:p>
        </p:txBody>
      </p:sp>
      <p:cxnSp>
        <p:nvCxnSpPr>
          <p:cNvPr id="183" name="Elbow Connector 182"/>
          <p:cNvCxnSpPr>
            <a:endCxn id="177" idx="1"/>
          </p:cNvCxnSpPr>
          <p:nvPr/>
        </p:nvCxnSpPr>
        <p:spPr>
          <a:xfrm flipV="1">
            <a:off x="4299492" y="4381744"/>
            <a:ext cx="394962" cy="11184"/>
          </a:xfrm>
          <a:prstGeom prst="bentConnector3">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4" name="Straight Arrow Connector 173"/>
          <p:cNvCxnSpPr>
            <a:stCxn id="119" idx="3"/>
          </p:cNvCxnSpPr>
          <p:nvPr/>
        </p:nvCxnSpPr>
        <p:spPr>
          <a:xfrm flipV="1">
            <a:off x="4291617" y="4485035"/>
            <a:ext cx="402837" cy="468929"/>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72" name="Picture 17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56438" y="4257790"/>
            <a:ext cx="303321" cy="303321"/>
          </a:xfrm>
          <a:prstGeom prst="rect">
            <a:avLst/>
          </a:prstGeom>
        </p:spPr>
      </p:pic>
      <p:cxnSp>
        <p:nvCxnSpPr>
          <p:cNvPr id="157" name="Straight Arrow Connector 156"/>
          <p:cNvCxnSpPr>
            <a:stCxn id="154" idx="2"/>
          </p:cNvCxnSpPr>
          <p:nvPr/>
        </p:nvCxnSpPr>
        <p:spPr>
          <a:xfrm>
            <a:off x="6604686" y="2192144"/>
            <a:ext cx="2603413" cy="1826679"/>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62" name="Straight Arrow Connector 161"/>
          <p:cNvCxnSpPr/>
          <p:nvPr/>
        </p:nvCxnSpPr>
        <p:spPr>
          <a:xfrm flipH="1">
            <a:off x="9528457" y="2206072"/>
            <a:ext cx="361611" cy="1507025"/>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52" name="Straight Arrow Connector 151"/>
          <p:cNvCxnSpPr>
            <a:stCxn id="150" idx="2"/>
          </p:cNvCxnSpPr>
          <p:nvPr/>
        </p:nvCxnSpPr>
        <p:spPr>
          <a:xfrm flipH="1">
            <a:off x="1351040" y="2326166"/>
            <a:ext cx="2254881" cy="2867475"/>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168" name="TextBox 167"/>
          <p:cNvSpPr txBox="1"/>
          <p:nvPr/>
        </p:nvSpPr>
        <p:spPr>
          <a:xfrm>
            <a:off x="4919916" y="2961579"/>
            <a:ext cx="4000510" cy="54468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algn="ctr" defTabSz="914224">
              <a:lnSpc>
                <a:spcPct val="90000"/>
              </a:lnSpc>
              <a:spcAft>
                <a:spcPts val="600"/>
              </a:spcAft>
              <a:defRPr/>
            </a:pPr>
            <a:r>
              <a:rPr lang="en-US" kern="0" dirty="0">
                <a:solidFill>
                  <a:srgbClr val="FFFFFF"/>
                </a:solidFill>
              </a:rPr>
              <a:t>Transform &amp; Analyze</a:t>
            </a:r>
          </a:p>
        </p:txBody>
      </p:sp>
      <p:sp>
        <p:nvSpPr>
          <p:cNvPr id="169" name="TextBox 168"/>
          <p:cNvSpPr txBox="1"/>
          <p:nvPr/>
        </p:nvSpPr>
        <p:spPr>
          <a:xfrm>
            <a:off x="9276441" y="2961579"/>
            <a:ext cx="2517770" cy="54468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algn="ctr" defTabSz="914224">
              <a:lnSpc>
                <a:spcPct val="90000"/>
              </a:lnSpc>
              <a:spcAft>
                <a:spcPts val="600"/>
              </a:spcAft>
              <a:defRPr/>
            </a:pPr>
            <a:r>
              <a:rPr lang="en-US" kern="0" dirty="0">
                <a:solidFill>
                  <a:srgbClr val="FFFFFF"/>
                </a:solidFill>
              </a:rPr>
              <a:t>Publish</a:t>
            </a:r>
          </a:p>
        </p:txBody>
      </p:sp>
      <p:cxnSp>
        <p:nvCxnSpPr>
          <p:cNvPr id="151" name="Straight Arrow Connector 150"/>
          <p:cNvCxnSpPr>
            <a:stCxn id="150" idx="2"/>
          </p:cNvCxnSpPr>
          <p:nvPr/>
        </p:nvCxnSpPr>
        <p:spPr>
          <a:xfrm flipH="1">
            <a:off x="3323049" y="2326166"/>
            <a:ext cx="282872" cy="1712673"/>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64" name="Straight Arrow Connector 163"/>
          <p:cNvCxnSpPr>
            <a:stCxn id="150" idx="2"/>
          </p:cNvCxnSpPr>
          <p:nvPr/>
        </p:nvCxnSpPr>
        <p:spPr>
          <a:xfrm>
            <a:off x="3605920" y="2326166"/>
            <a:ext cx="462247" cy="528622"/>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167" name="TextBox 166"/>
          <p:cNvSpPr txBox="1"/>
          <p:nvPr/>
        </p:nvSpPr>
        <p:spPr>
          <a:xfrm>
            <a:off x="2618623" y="2961580"/>
            <a:ext cx="1752352" cy="54468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algn="ctr" defTabSz="914224">
              <a:lnSpc>
                <a:spcPct val="90000"/>
              </a:lnSpc>
              <a:spcAft>
                <a:spcPts val="600"/>
              </a:spcAft>
              <a:defRPr/>
            </a:pPr>
            <a:r>
              <a:rPr lang="en-US" kern="0" dirty="0">
                <a:solidFill>
                  <a:srgbClr val="FFFFFF"/>
                </a:solidFill>
              </a:rPr>
              <a:t>Ingest</a:t>
            </a:r>
          </a:p>
        </p:txBody>
      </p:sp>
    </p:spTree>
    <p:extLst>
      <p:ext uri="{BB962C8B-B14F-4D97-AF65-F5344CB8AC3E}">
        <p14:creationId xmlns:p14="http://schemas.microsoft.com/office/powerpoint/2010/main" val="307985386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6"/>
                                        </p:tgtEl>
                                        <p:attrNameLst>
                                          <p:attrName>style.visibility</p:attrName>
                                        </p:attrNameLst>
                                      </p:cBhvr>
                                      <p:to>
                                        <p:strVal val="visible"/>
                                      </p:to>
                                    </p:set>
                                    <p:animEffect transition="in" filter="fade">
                                      <p:cBhvr>
                                        <p:cTn id="7" dur="500"/>
                                        <p:tgtEl>
                                          <p:spTgt spid="16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67"/>
                                        </p:tgtEl>
                                        <p:attrNameLst>
                                          <p:attrName>style.visibility</p:attrName>
                                        </p:attrNameLst>
                                      </p:cBhvr>
                                      <p:to>
                                        <p:strVal val="visible"/>
                                      </p:to>
                                    </p:set>
                                    <p:animEffect transition="in" filter="fade">
                                      <p:cBhvr>
                                        <p:cTn id="11" dur="1000"/>
                                        <p:tgtEl>
                                          <p:spTgt spid="167"/>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68"/>
                                        </p:tgtEl>
                                        <p:attrNameLst>
                                          <p:attrName>style.visibility</p:attrName>
                                        </p:attrNameLst>
                                      </p:cBhvr>
                                      <p:to>
                                        <p:strVal val="visible"/>
                                      </p:to>
                                    </p:set>
                                    <p:animEffect transition="in" filter="fade">
                                      <p:cBhvr>
                                        <p:cTn id="15" dur="1000"/>
                                        <p:tgtEl>
                                          <p:spTgt spid="168"/>
                                        </p:tgtEl>
                                      </p:cBhvr>
                                    </p:animEffect>
                                  </p:childTnLst>
                                </p:cTn>
                              </p:par>
                            </p:childTnLst>
                          </p:cTn>
                        </p:par>
                        <p:par>
                          <p:cTn id="16" fill="hold">
                            <p:stCondLst>
                              <p:cond delay="2500"/>
                            </p:stCondLst>
                            <p:childTnLst>
                              <p:par>
                                <p:cTn id="17" presetID="10" presetClass="entr" presetSubtype="0" fill="hold" grpId="0" nodeType="afterEffect">
                                  <p:stCondLst>
                                    <p:cond delay="0"/>
                                  </p:stCondLst>
                                  <p:childTnLst>
                                    <p:set>
                                      <p:cBhvr>
                                        <p:cTn id="18" dur="1" fill="hold">
                                          <p:stCondLst>
                                            <p:cond delay="0"/>
                                          </p:stCondLst>
                                        </p:cTn>
                                        <p:tgtEl>
                                          <p:spTgt spid="169"/>
                                        </p:tgtEl>
                                        <p:attrNameLst>
                                          <p:attrName>style.visibility</p:attrName>
                                        </p:attrNameLst>
                                      </p:cBhvr>
                                      <p:to>
                                        <p:strVal val="visible"/>
                                      </p:to>
                                    </p:set>
                                    <p:animEffect transition="in" filter="fade">
                                      <p:cBhvr>
                                        <p:cTn id="19" dur="1000"/>
                                        <p:tgtEl>
                                          <p:spTgt spid="169"/>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26"/>
                                        </p:tgtEl>
                                        <p:attrNameLst>
                                          <p:attrName>style.visibility</p:attrName>
                                        </p:attrNameLst>
                                      </p:cBhvr>
                                      <p:to>
                                        <p:strVal val="visible"/>
                                      </p:to>
                                    </p:set>
                                    <p:animEffect transition="in" filter="fade">
                                      <p:cBhvr>
                                        <p:cTn id="24" dur="500"/>
                                        <p:tgtEl>
                                          <p:spTgt spid="126"/>
                                        </p:tgtEl>
                                      </p:cBhvr>
                                    </p:animEffect>
                                  </p:childTnLst>
                                </p:cTn>
                              </p:par>
                              <p:par>
                                <p:cTn id="25" presetID="10" presetClass="entr" presetSubtype="0" fill="hold" nodeType="withEffect">
                                  <p:stCondLst>
                                    <p:cond delay="0"/>
                                  </p:stCondLst>
                                  <p:childTnLst>
                                    <p:set>
                                      <p:cBhvr>
                                        <p:cTn id="26" dur="1" fill="hold">
                                          <p:stCondLst>
                                            <p:cond delay="0"/>
                                          </p:stCondLst>
                                        </p:cTn>
                                        <p:tgtEl>
                                          <p:spTgt spid="127"/>
                                        </p:tgtEl>
                                        <p:attrNameLst>
                                          <p:attrName>style.visibility</p:attrName>
                                        </p:attrNameLst>
                                      </p:cBhvr>
                                      <p:to>
                                        <p:strVal val="visible"/>
                                      </p:to>
                                    </p:set>
                                    <p:animEffect transition="in" filter="fade">
                                      <p:cBhvr>
                                        <p:cTn id="27" dur="500"/>
                                        <p:tgtEl>
                                          <p:spTgt spid="12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24"/>
                                        </p:tgtEl>
                                        <p:attrNameLst>
                                          <p:attrName>style.visibility</p:attrName>
                                        </p:attrNameLst>
                                      </p:cBhvr>
                                      <p:to>
                                        <p:strVal val="visible"/>
                                      </p:to>
                                    </p:set>
                                    <p:animEffect transition="in" filter="fade">
                                      <p:cBhvr>
                                        <p:cTn id="30" dur="500"/>
                                        <p:tgtEl>
                                          <p:spTgt spid="124"/>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25"/>
                                        </p:tgtEl>
                                        <p:attrNameLst>
                                          <p:attrName>style.visibility</p:attrName>
                                        </p:attrNameLst>
                                      </p:cBhvr>
                                      <p:to>
                                        <p:strVal val="visible"/>
                                      </p:to>
                                    </p:set>
                                    <p:animEffect transition="in" filter="fade">
                                      <p:cBhvr>
                                        <p:cTn id="33" dur="500"/>
                                        <p:tgtEl>
                                          <p:spTgt spid="125"/>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28"/>
                                        </p:tgtEl>
                                        <p:attrNameLst>
                                          <p:attrName>style.visibility</p:attrName>
                                        </p:attrNameLst>
                                      </p:cBhvr>
                                      <p:to>
                                        <p:strVal val="visible"/>
                                      </p:to>
                                    </p:set>
                                    <p:animEffect transition="in" filter="fade">
                                      <p:cBhvr>
                                        <p:cTn id="36" dur="500"/>
                                        <p:tgtEl>
                                          <p:spTgt spid="128"/>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3"/>
                                        </p:tgtEl>
                                        <p:attrNameLst>
                                          <p:attrName>style.visibility</p:attrName>
                                        </p:attrNameLst>
                                      </p:cBhvr>
                                      <p:to>
                                        <p:strVal val="visible"/>
                                      </p:to>
                                    </p:set>
                                    <p:animEffect transition="in" filter="fade">
                                      <p:cBhvr>
                                        <p:cTn id="41" dur="500"/>
                                        <p:tgtEl>
                                          <p:spTgt spid="113"/>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14"/>
                                        </p:tgtEl>
                                        <p:attrNameLst>
                                          <p:attrName>style.visibility</p:attrName>
                                        </p:attrNameLst>
                                      </p:cBhvr>
                                      <p:to>
                                        <p:strVal val="visible"/>
                                      </p:to>
                                    </p:set>
                                    <p:animEffect transition="in" filter="fade">
                                      <p:cBhvr>
                                        <p:cTn id="44" dur="500"/>
                                        <p:tgtEl>
                                          <p:spTgt spid="11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12"/>
                                        </p:tgtEl>
                                        <p:attrNameLst>
                                          <p:attrName>style.visibility</p:attrName>
                                        </p:attrNameLst>
                                      </p:cBhvr>
                                      <p:to>
                                        <p:strVal val="visible"/>
                                      </p:to>
                                    </p:set>
                                    <p:animEffect transition="in" filter="fade">
                                      <p:cBhvr>
                                        <p:cTn id="47" dur="500"/>
                                        <p:tgtEl>
                                          <p:spTgt spid="11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15"/>
                                        </p:tgtEl>
                                        <p:attrNameLst>
                                          <p:attrName>style.visibility</p:attrName>
                                        </p:attrNameLst>
                                      </p:cBhvr>
                                      <p:to>
                                        <p:strVal val="visible"/>
                                      </p:to>
                                    </p:set>
                                    <p:animEffect transition="in" filter="fade">
                                      <p:cBhvr>
                                        <p:cTn id="50" dur="500"/>
                                        <p:tgtEl>
                                          <p:spTgt spid="115"/>
                                        </p:tgtEl>
                                      </p:cBhvr>
                                    </p:animEffect>
                                  </p:childTnLst>
                                </p:cTn>
                              </p:par>
                            </p:childTnLst>
                          </p:cTn>
                        </p:par>
                        <p:par>
                          <p:cTn id="51" fill="hold">
                            <p:stCondLst>
                              <p:cond delay="500"/>
                            </p:stCondLst>
                            <p:childTnLst>
                              <p:par>
                                <p:cTn id="52" presetID="10" presetClass="entr" presetSubtype="0" fill="hold" grpId="0" nodeType="afterEffect">
                                  <p:stCondLst>
                                    <p:cond delay="0"/>
                                  </p:stCondLst>
                                  <p:childTnLst>
                                    <p:set>
                                      <p:cBhvr>
                                        <p:cTn id="53" dur="1" fill="hold">
                                          <p:stCondLst>
                                            <p:cond delay="0"/>
                                          </p:stCondLst>
                                        </p:cTn>
                                        <p:tgtEl>
                                          <p:spTgt spid="116"/>
                                        </p:tgtEl>
                                        <p:attrNameLst>
                                          <p:attrName>style.visibility</p:attrName>
                                        </p:attrNameLst>
                                      </p:cBhvr>
                                      <p:to>
                                        <p:strVal val="visible"/>
                                      </p:to>
                                    </p:set>
                                    <p:animEffect transition="in" filter="fade">
                                      <p:cBhvr>
                                        <p:cTn id="54" dur="500"/>
                                        <p:tgtEl>
                                          <p:spTgt spid="116"/>
                                        </p:tgtEl>
                                      </p:cBhvr>
                                    </p:animEffect>
                                  </p:childTnLst>
                                </p:cTn>
                              </p:par>
                            </p:childTnLst>
                          </p:cTn>
                        </p:par>
                        <p:par>
                          <p:cTn id="55" fill="hold">
                            <p:stCondLst>
                              <p:cond delay="1000"/>
                            </p:stCondLst>
                            <p:childTnLst>
                              <p:par>
                                <p:cTn id="56" presetID="10" presetClass="entr" presetSubtype="0" fill="hold" grpId="0" nodeType="afterEffect">
                                  <p:stCondLst>
                                    <p:cond delay="0"/>
                                  </p:stCondLst>
                                  <p:childTnLst>
                                    <p:set>
                                      <p:cBhvr>
                                        <p:cTn id="57" dur="1" fill="hold">
                                          <p:stCondLst>
                                            <p:cond delay="0"/>
                                          </p:stCondLst>
                                        </p:cTn>
                                        <p:tgtEl>
                                          <p:spTgt spid="117"/>
                                        </p:tgtEl>
                                        <p:attrNameLst>
                                          <p:attrName>style.visibility</p:attrName>
                                        </p:attrNameLst>
                                      </p:cBhvr>
                                      <p:to>
                                        <p:strVal val="visible"/>
                                      </p:to>
                                    </p:set>
                                    <p:animEffect transition="in" filter="fade">
                                      <p:cBhvr>
                                        <p:cTn id="58" dur="500"/>
                                        <p:tgtEl>
                                          <p:spTgt spid="117"/>
                                        </p:tgtEl>
                                      </p:cBhvr>
                                    </p:animEffect>
                                  </p:childTnLst>
                                </p:cTn>
                              </p:par>
                            </p:childTnLst>
                          </p:cTn>
                        </p:par>
                        <p:par>
                          <p:cTn id="59" fill="hold">
                            <p:stCondLst>
                              <p:cond delay="1500"/>
                            </p:stCondLst>
                            <p:childTnLst>
                              <p:par>
                                <p:cTn id="60" presetID="10" presetClass="entr" presetSubtype="0" fill="hold" grpId="0" nodeType="afterEffect">
                                  <p:stCondLst>
                                    <p:cond delay="0"/>
                                  </p:stCondLst>
                                  <p:childTnLst>
                                    <p:set>
                                      <p:cBhvr>
                                        <p:cTn id="61" dur="1" fill="hold">
                                          <p:stCondLst>
                                            <p:cond delay="0"/>
                                          </p:stCondLst>
                                        </p:cTn>
                                        <p:tgtEl>
                                          <p:spTgt spid="118"/>
                                        </p:tgtEl>
                                        <p:attrNameLst>
                                          <p:attrName>style.visibility</p:attrName>
                                        </p:attrNameLst>
                                      </p:cBhvr>
                                      <p:to>
                                        <p:strVal val="visible"/>
                                      </p:to>
                                    </p:set>
                                    <p:animEffect transition="in" filter="fade">
                                      <p:cBhvr>
                                        <p:cTn id="62" dur="500"/>
                                        <p:tgtEl>
                                          <p:spTgt spid="118"/>
                                        </p:tgtEl>
                                      </p:cBhvr>
                                    </p:animEffect>
                                  </p:childTnLst>
                                </p:cTn>
                              </p:par>
                            </p:childTnLst>
                          </p:cTn>
                        </p:par>
                        <p:par>
                          <p:cTn id="63" fill="hold">
                            <p:stCondLst>
                              <p:cond delay="2000"/>
                            </p:stCondLst>
                            <p:childTnLst>
                              <p:par>
                                <p:cTn id="64" presetID="10" presetClass="entr" presetSubtype="0" fill="hold" grpId="0" nodeType="afterEffect">
                                  <p:stCondLst>
                                    <p:cond delay="0"/>
                                  </p:stCondLst>
                                  <p:childTnLst>
                                    <p:set>
                                      <p:cBhvr>
                                        <p:cTn id="65" dur="1" fill="hold">
                                          <p:stCondLst>
                                            <p:cond delay="0"/>
                                          </p:stCondLst>
                                        </p:cTn>
                                        <p:tgtEl>
                                          <p:spTgt spid="119"/>
                                        </p:tgtEl>
                                        <p:attrNameLst>
                                          <p:attrName>style.visibility</p:attrName>
                                        </p:attrNameLst>
                                      </p:cBhvr>
                                      <p:to>
                                        <p:strVal val="visible"/>
                                      </p:to>
                                    </p:set>
                                    <p:animEffect transition="in" filter="fade">
                                      <p:cBhvr>
                                        <p:cTn id="66" dur="500"/>
                                        <p:tgtEl>
                                          <p:spTgt spid="119"/>
                                        </p:tgtEl>
                                      </p:cBhvr>
                                    </p:animEffect>
                                  </p:childTnLst>
                                </p:cTn>
                              </p:par>
                            </p:childTnLst>
                          </p:cTn>
                        </p:par>
                      </p:childTnLst>
                    </p:cTn>
                  </p:par>
                  <p:par>
                    <p:cTn id="67" fill="hold">
                      <p:stCondLst>
                        <p:cond delay="indefinite"/>
                      </p:stCondLst>
                      <p:childTnLst>
                        <p:par>
                          <p:cTn id="68" fill="hold">
                            <p:stCondLst>
                              <p:cond delay="0"/>
                            </p:stCondLst>
                            <p:childTnLst>
                              <p:par>
                                <p:cTn id="69" presetID="22" presetClass="entr" presetSubtype="8" fill="hold" nodeType="clickEffect">
                                  <p:stCondLst>
                                    <p:cond delay="0"/>
                                  </p:stCondLst>
                                  <p:childTnLst>
                                    <p:set>
                                      <p:cBhvr>
                                        <p:cTn id="70" dur="1" fill="hold">
                                          <p:stCondLst>
                                            <p:cond delay="0"/>
                                          </p:stCondLst>
                                        </p:cTn>
                                        <p:tgtEl>
                                          <p:spTgt spid="121"/>
                                        </p:tgtEl>
                                        <p:attrNameLst>
                                          <p:attrName>style.visibility</p:attrName>
                                        </p:attrNameLst>
                                      </p:cBhvr>
                                      <p:to>
                                        <p:strVal val="visible"/>
                                      </p:to>
                                    </p:set>
                                    <p:animEffect transition="in" filter="wipe(left)">
                                      <p:cBhvr>
                                        <p:cTn id="71" dur="500"/>
                                        <p:tgtEl>
                                          <p:spTgt spid="121"/>
                                        </p:tgtEl>
                                      </p:cBhvr>
                                    </p:animEffect>
                                  </p:childTnLst>
                                </p:cTn>
                              </p:par>
                              <p:par>
                                <p:cTn id="72" presetID="22" presetClass="entr" presetSubtype="8" fill="hold" nodeType="withEffect">
                                  <p:stCondLst>
                                    <p:cond delay="0"/>
                                  </p:stCondLst>
                                  <p:childTnLst>
                                    <p:set>
                                      <p:cBhvr>
                                        <p:cTn id="73" dur="1" fill="hold">
                                          <p:stCondLst>
                                            <p:cond delay="0"/>
                                          </p:stCondLst>
                                        </p:cTn>
                                        <p:tgtEl>
                                          <p:spTgt spid="120"/>
                                        </p:tgtEl>
                                        <p:attrNameLst>
                                          <p:attrName>style.visibility</p:attrName>
                                        </p:attrNameLst>
                                      </p:cBhvr>
                                      <p:to>
                                        <p:strVal val="visible"/>
                                      </p:to>
                                    </p:set>
                                    <p:animEffect transition="in" filter="wipe(left)">
                                      <p:cBhvr>
                                        <p:cTn id="74" dur="500"/>
                                        <p:tgtEl>
                                          <p:spTgt spid="120"/>
                                        </p:tgtEl>
                                      </p:cBhvr>
                                    </p:animEffect>
                                  </p:childTnLst>
                                </p:cTn>
                              </p:par>
                            </p:childTnLst>
                          </p:cTn>
                        </p:par>
                      </p:childTnLst>
                    </p:cTn>
                  </p:par>
                  <p:par>
                    <p:cTn id="75" fill="hold">
                      <p:stCondLst>
                        <p:cond delay="indefinite"/>
                      </p:stCondLst>
                      <p:childTnLst>
                        <p:par>
                          <p:cTn id="76" fill="hold">
                            <p:stCondLst>
                              <p:cond delay="0"/>
                            </p:stCondLst>
                            <p:childTnLst>
                              <p:par>
                                <p:cTn id="77" presetID="22" presetClass="entr" presetSubtype="1" fill="hold" nodeType="clickEffect">
                                  <p:stCondLst>
                                    <p:cond delay="0"/>
                                  </p:stCondLst>
                                  <p:childTnLst>
                                    <p:set>
                                      <p:cBhvr>
                                        <p:cTn id="78" dur="1" fill="hold">
                                          <p:stCondLst>
                                            <p:cond delay="0"/>
                                          </p:stCondLst>
                                        </p:cTn>
                                        <p:tgtEl>
                                          <p:spTgt spid="152"/>
                                        </p:tgtEl>
                                        <p:attrNameLst>
                                          <p:attrName>style.visibility</p:attrName>
                                        </p:attrNameLst>
                                      </p:cBhvr>
                                      <p:to>
                                        <p:strVal val="visible"/>
                                      </p:to>
                                    </p:set>
                                    <p:animEffect transition="in" filter="wipe(up)">
                                      <p:cBhvr>
                                        <p:cTn id="79" dur="500"/>
                                        <p:tgtEl>
                                          <p:spTgt spid="152"/>
                                        </p:tgtEl>
                                      </p:cBhvr>
                                    </p:animEffect>
                                  </p:childTnLst>
                                </p:cTn>
                              </p:par>
                              <p:par>
                                <p:cTn id="80" presetID="22" presetClass="entr" presetSubtype="1" fill="hold" nodeType="withEffect">
                                  <p:stCondLst>
                                    <p:cond delay="0"/>
                                  </p:stCondLst>
                                  <p:childTnLst>
                                    <p:set>
                                      <p:cBhvr>
                                        <p:cTn id="81" dur="1" fill="hold">
                                          <p:stCondLst>
                                            <p:cond delay="0"/>
                                          </p:stCondLst>
                                        </p:cTn>
                                        <p:tgtEl>
                                          <p:spTgt spid="151"/>
                                        </p:tgtEl>
                                        <p:attrNameLst>
                                          <p:attrName>style.visibility</p:attrName>
                                        </p:attrNameLst>
                                      </p:cBhvr>
                                      <p:to>
                                        <p:strVal val="visible"/>
                                      </p:to>
                                    </p:set>
                                    <p:animEffect transition="in" filter="wipe(up)">
                                      <p:cBhvr>
                                        <p:cTn id="82" dur="500"/>
                                        <p:tgtEl>
                                          <p:spTgt spid="151"/>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0"/>
                                  </p:stCondLst>
                                  <p:childTnLst>
                                    <p:set>
                                      <p:cBhvr>
                                        <p:cTn id="86" dur="1" fill="hold">
                                          <p:stCondLst>
                                            <p:cond delay="0"/>
                                          </p:stCondLst>
                                        </p:cTn>
                                        <p:tgtEl>
                                          <p:spTgt spid="161"/>
                                        </p:tgtEl>
                                        <p:attrNameLst>
                                          <p:attrName>style.visibility</p:attrName>
                                        </p:attrNameLst>
                                      </p:cBhvr>
                                      <p:to>
                                        <p:strVal val="visible"/>
                                      </p:to>
                                    </p:set>
                                    <p:animEffect transition="in" filter="fade">
                                      <p:cBhvr>
                                        <p:cTn id="87" dur="500"/>
                                        <p:tgtEl>
                                          <p:spTgt spid="161"/>
                                        </p:tgtEl>
                                      </p:cBhvr>
                                    </p:animEffect>
                                  </p:childTnLst>
                                </p:cTn>
                              </p:par>
                            </p:childTnLst>
                          </p:cTn>
                        </p:par>
                        <p:par>
                          <p:cTn id="88" fill="hold">
                            <p:stCondLst>
                              <p:cond delay="500"/>
                            </p:stCondLst>
                            <p:childTnLst>
                              <p:par>
                                <p:cTn id="89" presetID="10" presetClass="entr" presetSubtype="0" fill="hold" nodeType="afterEffect">
                                  <p:stCondLst>
                                    <p:cond delay="0"/>
                                  </p:stCondLst>
                                  <p:childTnLst>
                                    <p:set>
                                      <p:cBhvr>
                                        <p:cTn id="90" dur="1" fill="hold">
                                          <p:stCondLst>
                                            <p:cond delay="0"/>
                                          </p:stCondLst>
                                        </p:cTn>
                                        <p:tgtEl>
                                          <p:spTgt spid="155"/>
                                        </p:tgtEl>
                                        <p:attrNameLst>
                                          <p:attrName>style.visibility</p:attrName>
                                        </p:attrNameLst>
                                      </p:cBhvr>
                                      <p:to>
                                        <p:strVal val="visible"/>
                                      </p:to>
                                    </p:set>
                                    <p:animEffect transition="in" filter="fade">
                                      <p:cBhvr>
                                        <p:cTn id="91" dur="500"/>
                                        <p:tgtEl>
                                          <p:spTgt spid="155"/>
                                        </p:tgtEl>
                                      </p:cBhvr>
                                    </p:animEffect>
                                  </p:childTnLst>
                                </p:cTn>
                              </p:par>
                              <p:par>
                                <p:cTn id="92" presetID="10" presetClass="entr" presetSubtype="0" fill="hold" nodeType="withEffect">
                                  <p:stCondLst>
                                    <p:cond delay="0"/>
                                  </p:stCondLst>
                                  <p:childTnLst>
                                    <p:set>
                                      <p:cBhvr>
                                        <p:cTn id="93" dur="1" fill="hold">
                                          <p:stCondLst>
                                            <p:cond delay="0"/>
                                          </p:stCondLst>
                                        </p:cTn>
                                        <p:tgtEl>
                                          <p:spTgt spid="162"/>
                                        </p:tgtEl>
                                        <p:attrNameLst>
                                          <p:attrName>style.visibility</p:attrName>
                                        </p:attrNameLst>
                                      </p:cBhvr>
                                      <p:to>
                                        <p:strVal val="visible"/>
                                      </p:to>
                                    </p:set>
                                    <p:animEffect transition="in" filter="fade">
                                      <p:cBhvr>
                                        <p:cTn id="94" dur="500"/>
                                        <p:tgtEl>
                                          <p:spTgt spid="162"/>
                                        </p:tgtEl>
                                      </p:cBhvr>
                                    </p:animEffect>
                                  </p:childTnLst>
                                </p:cTn>
                              </p:par>
                              <p:par>
                                <p:cTn id="95" presetID="10" presetClass="entr" presetSubtype="0" fill="hold" nodeType="withEffect">
                                  <p:stCondLst>
                                    <p:cond delay="0"/>
                                  </p:stCondLst>
                                  <p:childTnLst>
                                    <p:set>
                                      <p:cBhvr>
                                        <p:cTn id="96" dur="1" fill="hold">
                                          <p:stCondLst>
                                            <p:cond delay="0"/>
                                          </p:stCondLst>
                                        </p:cTn>
                                        <p:tgtEl>
                                          <p:spTgt spid="183"/>
                                        </p:tgtEl>
                                        <p:attrNameLst>
                                          <p:attrName>style.visibility</p:attrName>
                                        </p:attrNameLst>
                                      </p:cBhvr>
                                      <p:to>
                                        <p:strVal val="visible"/>
                                      </p:to>
                                    </p:set>
                                    <p:animEffect transition="in" filter="fade">
                                      <p:cBhvr>
                                        <p:cTn id="97" dur="500"/>
                                        <p:tgtEl>
                                          <p:spTgt spid="183"/>
                                        </p:tgtEl>
                                      </p:cBhvr>
                                    </p:animEffect>
                                  </p:childTnLst>
                                </p:cTn>
                              </p:par>
                              <p:par>
                                <p:cTn id="98" presetID="10" presetClass="entr" presetSubtype="0" fill="hold" nodeType="withEffect">
                                  <p:stCondLst>
                                    <p:cond delay="0"/>
                                  </p:stCondLst>
                                  <p:childTnLst>
                                    <p:set>
                                      <p:cBhvr>
                                        <p:cTn id="99" dur="1" fill="hold">
                                          <p:stCondLst>
                                            <p:cond delay="0"/>
                                          </p:stCondLst>
                                        </p:cTn>
                                        <p:tgtEl>
                                          <p:spTgt spid="174"/>
                                        </p:tgtEl>
                                        <p:attrNameLst>
                                          <p:attrName>style.visibility</p:attrName>
                                        </p:attrNameLst>
                                      </p:cBhvr>
                                      <p:to>
                                        <p:strVal val="visible"/>
                                      </p:to>
                                    </p:set>
                                    <p:animEffect transition="in" filter="fade">
                                      <p:cBhvr>
                                        <p:cTn id="100" dur="500"/>
                                        <p:tgtEl>
                                          <p:spTgt spid="174"/>
                                        </p:tgtEl>
                                      </p:cBhvr>
                                    </p:animEffect>
                                  </p:childTnLst>
                                </p:cTn>
                              </p:par>
                              <p:par>
                                <p:cTn id="101" presetID="10" presetClass="entr" presetSubtype="0" fill="hold" nodeType="withEffect">
                                  <p:stCondLst>
                                    <p:cond delay="0"/>
                                  </p:stCondLst>
                                  <p:childTnLst>
                                    <p:set>
                                      <p:cBhvr>
                                        <p:cTn id="102" dur="1" fill="hold">
                                          <p:stCondLst>
                                            <p:cond delay="0"/>
                                          </p:stCondLst>
                                        </p:cTn>
                                        <p:tgtEl>
                                          <p:spTgt spid="178"/>
                                        </p:tgtEl>
                                        <p:attrNameLst>
                                          <p:attrName>style.visibility</p:attrName>
                                        </p:attrNameLst>
                                      </p:cBhvr>
                                      <p:to>
                                        <p:strVal val="visible"/>
                                      </p:to>
                                    </p:set>
                                    <p:animEffect transition="in" filter="fade">
                                      <p:cBhvr>
                                        <p:cTn id="103" dur="500"/>
                                        <p:tgtEl>
                                          <p:spTgt spid="178"/>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177"/>
                                        </p:tgtEl>
                                        <p:attrNameLst>
                                          <p:attrName>style.visibility</p:attrName>
                                        </p:attrNameLst>
                                      </p:cBhvr>
                                      <p:to>
                                        <p:strVal val="visible"/>
                                      </p:to>
                                    </p:set>
                                    <p:animEffect transition="in" filter="fade">
                                      <p:cBhvr>
                                        <p:cTn id="106" dur="500"/>
                                        <p:tgtEl>
                                          <p:spTgt spid="177"/>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179"/>
                                        </p:tgtEl>
                                        <p:attrNameLst>
                                          <p:attrName>style.visibility</p:attrName>
                                        </p:attrNameLst>
                                      </p:cBhvr>
                                      <p:to>
                                        <p:strVal val="visible"/>
                                      </p:to>
                                    </p:set>
                                    <p:animEffect transition="in" filter="fade">
                                      <p:cBhvr>
                                        <p:cTn id="109" dur="500"/>
                                        <p:tgtEl>
                                          <p:spTgt spid="179"/>
                                        </p:tgtEl>
                                      </p:cBhvr>
                                    </p:animEffect>
                                  </p:childTnLst>
                                </p:cTn>
                              </p:par>
                              <p:par>
                                <p:cTn id="110" presetID="10" presetClass="entr" presetSubtype="0" fill="hold" nodeType="withEffect">
                                  <p:stCondLst>
                                    <p:cond delay="0"/>
                                  </p:stCondLst>
                                  <p:childTnLst>
                                    <p:set>
                                      <p:cBhvr>
                                        <p:cTn id="111" dur="1" fill="hold">
                                          <p:stCondLst>
                                            <p:cond delay="0"/>
                                          </p:stCondLst>
                                        </p:cTn>
                                        <p:tgtEl>
                                          <p:spTgt spid="164"/>
                                        </p:tgtEl>
                                        <p:attrNameLst>
                                          <p:attrName>style.visibility</p:attrName>
                                        </p:attrNameLst>
                                      </p:cBhvr>
                                      <p:to>
                                        <p:strVal val="visible"/>
                                      </p:to>
                                    </p:set>
                                    <p:animEffect transition="in" filter="fade">
                                      <p:cBhvr>
                                        <p:cTn id="112" dur="500"/>
                                        <p:tgtEl>
                                          <p:spTgt spid="164"/>
                                        </p:tgtEl>
                                      </p:cBhvr>
                                    </p:animEffec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nodeType="clickEffect">
                                  <p:stCondLst>
                                    <p:cond delay="0"/>
                                  </p:stCondLst>
                                  <p:childTnLst>
                                    <p:set>
                                      <p:cBhvr>
                                        <p:cTn id="116" dur="1" fill="hold">
                                          <p:stCondLst>
                                            <p:cond delay="0"/>
                                          </p:stCondLst>
                                        </p:cTn>
                                        <p:tgtEl>
                                          <p:spTgt spid="184"/>
                                        </p:tgtEl>
                                        <p:attrNameLst>
                                          <p:attrName>style.visibility</p:attrName>
                                        </p:attrNameLst>
                                      </p:cBhvr>
                                      <p:to>
                                        <p:strVal val="visible"/>
                                      </p:to>
                                    </p:set>
                                    <p:animEffect transition="in" filter="fade">
                                      <p:cBhvr>
                                        <p:cTn id="117" dur="500"/>
                                        <p:tgtEl>
                                          <p:spTgt spid="184"/>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190"/>
                                        </p:tgtEl>
                                        <p:attrNameLst>
                                          <p:attrName>style.visibility</p:attrName>
                                        </p:attrNameLst>
                                      </p:cBhvr>
                                      <p:to>
                                        <p:strVal val="visible"/>
                                      </p:to>
                                    </p:set>
                                    <p:animEffect transition="in" filter="fade">
                                      <p:cBhvr>
                                        <p:cTn id="120" dur="500"/>
                                        <p:tgtEl>
                                          <p:spTgt spid="190"/>
                                        </p:tgtEl>
                                      </p:cBhvr>
                                    </p:animEffect>
                                  </p:childTnLst>
                                </p:cTn>
                              </p:par>
                            </p:childTnLst>
                          </p:cTn>
                        </p:par>
                      </p:childTnLst>
                    </p:cTn>
                  </p:par>
                  <p:par>
                    <p:cTn id="121" fill="hold">
                      <p:stCondLst>
                        <p:cond delay="indefinite"/>
                      </p:stCondLst>
                      <p:childTnLst>
                        <p:par>
                          <p:cTn id="122" fill="hold">
                            <p:stCondLst>
                              <p:cond delay="0"/>
                            </p:stCondLst>
                            <p:childTnLst>
                              <p:par>
                                <p:cTn id="123" presetID="10" presetClass="entr" presetSubtype="0" fill="hold" nodeType="clickEffect">
                                  <p:stCondLst>
                                    <p:cond delay="0"/>
                                  </p:stCondLst>
                                  <p:childTnLst>
                                    <p:set>
                                      <p:cBhvr>
                                        <p:cTn id="124" dur="1" fill="hold">
                                          <p:stCondLst>
                                            <p:cond delay="0"/>
                                          </p:stCondLst>
                                        </p:cTn>
                                        <p:tgtEl>
                                          <p:spTgt spid="185"/>
                                        </p:tgtEl>
                                        <p:attrNameLst>
                                          <p:attrName>style.visibility</p:attrName>
                                        </p:attrNameLst>
                                      </p:cBhvr>
                                      <p:to>
                                        <p:strVal val="visible"/>
                                      </p:to>
                                    </p:set>
                                    <p:animEffect transition="in" filter="fade">
                                      <p:cBhvr>
                                        <p:cTn id="125" dur="500"/>
                                        <p:tgtEl>
                                          <p:spTgt spid="185"/>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180"/>
                                        </p:tgtEl>
                                        <p:attrNameLst>
                                          <p:attrName>style.visibility</p:attrName>
                                        </p:attrNameLst>
                                      </p:cBhvr>
                                      <p:to>
                                        <p:strVal val="visible"/>
                                      </p:to>
                                    </p:set>
                                    <p:animEffect transition="in" filter="fade">
                                      <p:cBhvr>
                                        <p:cTn id="128" dur="500"/>
                                        <p:tgtEl>
                                          <p:spTgt spid="180"/>
                                        </p:tgtEl>
                                      </p:cBhvr>
                                    </p:animEffect>
                                  </p:childTnLst>
                                </p:cTn>
                              </p:par>
                              <p:par>
                                <p:cTn id="129" presetID="10" presetClass="entr" presetSubtype="0" fill="hold" nodeType="withEffect">
                                  <p:stCondLst>
                                    <p:cond delay="0"/>
                                  </p:stCondLst>
                                  <p:childTnLst>
                                    <p:set>
                                      <p:cBhvr>
                                        <p:cTn id="130" dur="1" fill="hold">
                                          <p:stCondLst>
                                            <p:cond delay="0"/>
                                          </p:stCondLst>
                                        </p:cTn>
                                        <p:tgtEl>
                                          <p:spTgt spid="182"/>
                                        </p:tgtEl>
                                        <p:attrNameLst>
                                          <p:attrName>style.visibility</p:attrName>
                                        </p:attrNameLst>
                                      </p:cBhvr>
                                      <p:to>
                                        <p:strVal val="visible"/>
                                      </p:to>
                                    </p:set>
                                    <p:animEffect transition="in" filter="fade">
                                      <p:cBhvr>
                                        <p:cTn id="131" dur="500"/>
                                        <p:tgtEl>
                                          <p:spTgt spid="182"/>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181"/>
                                        </p:tgtEl>
                                        <p:attrNameLst>
                                          <p:attrName>style.visibility</p:attrName>
                                        </p:attrNameLst>
                                      </p:cBhvr>
                                      <p:to>
                                        <p:strVal val="visible"/>
                                      </p:to>
                                    </p:set>
                                    <p:animEffect transition="in" filter="fade">
                                      <p:cBhvr>
                                        <p:cTn id="134" dur="500"/>
                                        <p:tgtEl>
                                          <p:spTgt spid="181"/>
                                        </p:tgtEl>
                                      </p:cBhvr>
                                    </p:animEffec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nodeType="clickEffect">
                                  <p:stCondLst>
                                    <p:cond delay="0"/>
                                  </p:stCondLst>
                                  <p:childTnLst>
                                    <p:set>
                                      <p:cBhvr>
                                        <p:cTn id="138" dur="1" fill="hold">
                                          <p:stCondLst>
                                            <p:cond delay="0"/>
                                          </p:stCondLst>
                                        </p:cTn>
                                        <p:tgtEl>
                                          <p:spTgt spid="156"/>
                                        </p:tgtEl>
                                        <p:attrNameLst>
                                          <p:attrName>style.visibility</p:attrName>
                                        </p:attrNameLst>
                                      </p:cBhvr>
                                      <p:to>
                                        <p:strVal val="visible"/>
                                      </p:to>
                                    </p:set>
                                    <p:animEffect transition="in" filter="fade">
                                      <p:cBhvr>
                                        <p:cTn id="139" dur="500"/>
                                        <p:tgtEl>
                                          <p:spTgt spid="156"/>
                                        </p:tgtEl>
                                      </p:cBhvr>
                                    </p:animEffect>
                                  </p:childTnLst>
                                </p:cTn>
                              </p:par>
                              <p:par>
                                <p:cTn id="140" presetID="10" presetClass="entr" presetSubtype="0" fill="hold" nodeType="withEffect">
                                  <p:stCondLst>
                                    <p:cond delay="0"/>
                                  </p:stCondLst>
                                  <p:childTnLst>
                                    <p:set>
                                      <p:cBhvr>
                                        <p:cTn id="141" dur="1" fill="hold">
                                          <p:stCondLst>
                                            <p:cond delay="0"/>
                                          </p:stCondLst>
                                        </p:cTn>
                                        <p:tgtEl>
                                          <p:spTgt spid="186"/>
                                        </p:tgtEl>
                                        <p:attrNameLst>
                                          <p:attrName>style.visibility</p:attrName>
                                        </p:attrNameLst>
                                      </p:cBhvr>
                                      <p:to>
                                        <p:strVal val="visible"/>
                                      </p:to>
                                    </p:set>
                                    <p:animEffect transition="in" filter="fade">
                                      <p:cBhvr>
                                        <p:cTn id="142" dur="500"/>
                                        <p:tgtEl>
                                          <p:spTgt spid="186"/>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191"/>
                                        </p:tgtEl>
                                        <p:attrNameLst>
                                          <p:attrName>style.visibility</p:attrName>
                                        </p:attrNameLst>
                                      </p:cBhvr>
                                      <p:to>
                                        <p:strVal val="visible"/>
                                      </p:to>
                                    </p:set>
                                    <p:animEffect transition="in" filter="fade">
                                      <p:cBhvr>
                                        <p:cTn id="145" dur="500"/>
                                        <p:tgtEl>
                                          <p:spTgt spid="191"/>
                                        </p:tgtEl>
                                      </p:cBhvr>
                                    </p:animEffect>
                                  </p:childTnLst>
                                </p:cTn>
                              </p:par>
                            </p:childTnLst>
                          </p:cTn>
                        </p:par>
                      </p:childTnLst>
                    </p:cTn>
                  </p:par>
                  <p:par>
                    <p:cTn id="146" fill="hold">
                      <p:stCondLst>
                        <p:cond delay="indefinite"/>
                      </p:stCondLst>
                      <p:childTnLst>
                        <p:par>
                          <p:cTn id="147" fill="hold">
                            <p:stCondLst>
                              <p:cond delay="0"/>
                            </p:stCondLst>
                            <p:childTnLst>
                              <p:par>
                                <p:cTn id="148" presetID="10" presetClass="entr" presetSubtype="0" fill="hold" nodeType="clickEffect">
                                  <p:stCondLst>
                                    <p:cond delay="0"/>
                                  </p:stCondLst>
                                  <p:childTnLst>
                                    <p:set>
                                      <p:cBhvr>
                                        <p:cTn id="149" dur="1" fill="hold">
                                          <p:stCondLst>
                                            <p:cond delay="0"/>
                                          </p:stCondLst>
                                        </p:cTn>
                                        <p:tgtEl>
                                          <p:spTgt spid="157"/>
                                        </p:tgtEl>
                                        <p:attrNameLst>
                                          <p:attrName>style.visibility</p:attrName>
                                        </p:attrNameLst>
                                      </p:cBhvr>
                                      <p:to>
                                        <p:strVal val="visible"/>
                                      </p:to>
                                    </p:set>
                                    <p:animEffect transition="in" filter="fade">
                                      <p:cBhvr>
                                        <p:cTn id="150" dur="500"/>
                                        <p:tgtEl>
                                          <p:spTgt spid="157"/>
                                        </p:tgtEl>
                                      </p:cBhvr>
                                    </p:animEffect>
                                  </p:childTnLst>
                                </p:cTn>
                              </p:par>
                              <p:par>
                                <p:cTn id="151" presetID="10" presetClass="entr" presetSubtype="0" fill="hold" nodeType="withEffect">
                                  <p:stCondLst>
                                    <p:cond delay="0"/>
                                  </p:stCondLst>
                                  <p:childTnLst>
                                    <p:set>
                                      <p:cBhvr>
                                        <p:cTn id="152" dur="1" fill="hold">
                                          <p:stCondLst>
                                            <p:cond delay="0"/>
                                          </p:stCondLst>
                                        </p:cTn>
                                        <p:tgtEl>
                                          <p:spTgt spid="189"/>
                                        </p:tgtEl>
                                        <p:attrNameLst>
                                          <p:attrName>style.visibility</p:attrName>
                                        </p:attrNameLst>
                                      </p:cBhvr>
                                      <p:to>
                                        <p:strVal val="visible"/>
                                      </p:to>
                                    </p:set>
                                    <p:animEffect transition="in" filter="fade">
                                      <p:cBhvr>
                                        <p:cTn id="153" dur="500"/>
                                        <p:tgtEl>
                                          <p:spTgt spid="189"/>
                                        </p:tgtEl>
                                      </p:cBhvr>
                                    </p:animEffect>
                                  </p:childTnLst>
                                </p:cTn>
                              </p:par>
                              <p:par>
                                <p:cTn id="154" presetID="10" presetClass="entr" presetSubtype="0" fill="hold" grpId="0" nodeType="withEffect">
                                  <p:stCondLst>
                                    <p:cond delay="0"/>
                                  </p:stCondLst>
                                  <p:childTnLst>
                                    <p:set>
                                      <p:cBhvr>
                                        <p:cTn id="155" dur="1" fill="hold">
                                          <p:stCondLst>
                                            <p:cond delay="0"/>
                                          </p:stCondLst>
                                        </p:cTn>
                                        <p:tgtEl>
                                          <p:spTgt spid="188"/>
                                        </p:tgtEl>
                                        <p:attrNameLst>
                                          <p:attrName>style.visibility</p:attrName>
                                        </p:attrNameLst>
                                      </p:cBhvr>
                                      <p:to>
                                        <p:strVal val="visible"/>
                                      </p:to>
                                    </p:set>
                                    <p:animEffect transition="in" filter="fade">
                                      <p:cBhvr>
                                        <p:cTn id="156" dur="500"/>
                                        <p:tgtEl>
                                          <p:spTgt spid="188"/>
                                        </p:tgtEl>
                                      </p:cBhvr>
                                    </p:animEffect>
                                  </p:childTnLst>
                                </p:cTn>
                              </p:par>
                              <p:par>
                                <p:cTn id="157" presetID="10" presetClass="entr" presetSubtype="0" fill="hold" nodeType="withEffect">
                                  <p:stCondLst>
                                    <p:cond delay="0"/>
                                  </p:stCondLst>
                                  <p:childTnLst>
                                    <p:set>
                                      <p:cBhvr>
                                        <p:cTn id="158" dur="1" fill="hold">
                                          <p:stCondLst>
                                            <p:cond delay="0"/>
                                          </p:stCondLst>
                                        </p:cTn>
                                        <p:tgtEl>
                                          <p:spTgt spid="172"/>
                                        </p:tgtEl>
                                        <p:attrNameLst>
                                          <p:attrName>style.visibility</p:attrName>
                                        </p:attrNameLst>
                                      </p:cBhvr>
                                      <p:to>
                                        <p:strVal val="visible"/>
                                      </p:to>
                                    </p:set>
                                    <p:animEffect transition="in" filter="fade">
                                      <p:cBhvr>
                                        <p:cTn id="159" dur="500"/>
                                        <p:tgtEl>
                                          <p:spTgt spid="172"/>
                                        </p:tgtEl>
                                      </p:cBhvr>
                                    </p:animEffect>
                                  </p:childTnLst>
                                </p:cTn>
                              </p:par>
                              <p:par>
                                <p:cTn id="160" presetID="10" presetClass="entr" presetSubtype="0" fill="hold" grpId="0" nodeType="withEffect">
                                  <p:stCondLst>
                                    <p:cond delay="0"/>
                                  </p:stCondLst>
                                  <p:childTnLst>
                                    <p:set>
                                      <p:cBhvr>
                                        <p:cTn id="161" dur="1" fill="hold">
                                          <p:stCondLst>
                                            <p:cond delay="0"/>
                                          </p:stCondLst>
                                        </p:cTn>
                                        <p:tgtEl>
                                          <p:spTgt spid="187"/>
                                        </p:tgtEl>
                                        <p:attrNameLst>
                                          <p:attrName>style.visibility</p:attrName>
                                        </p:attrNameLst>
                                      </p:cBhvr>
                                      <p:to>
                                        <p:strVal val="visible"/>
                                      </p:to>
                                    </p:set>
                                    <p:animEffect transition="in" filter="fade">
                                      <p:cBhvr>
                                        <p:cTn id="162" dur="500"/>
                                        <p:tgtEl>
                                          <p:spTgt spid="187"/>
                                        </p:tgtEl>
                                      </p:cBhvr>
                                    </p:animEffect>
                                  </p:childTnLst>
                                </p:cTn>
                              </p:par>
                              <p:par>
                                <p:cTn id="163" presetID="10" presetClass="entr" presetSubtype="0" fill="hold" nodeType="withEffect">
                                  <p:stCondLst>
                                    <p:cond delay="0"/>
                                  </p:stCondLst>
                                  <p:childTnLst>
                                    <p:set>
                                      <p:cBhvr>
                                        <p:cTn id="164" dur="1" fill="hold">
                                          <p:stCondLst>
                                            <p:cond delay="0"/>
                                          </p:stCondLst>
                                        </p:cTn>
                                        <p:tgtEl>
                                          <p:spTgt spid="144"/>
                                        </p:tgtEl>
                                        <p:attrNameLst>
                                          <p:attrName>style.visibility</p:attrName>
                                        </p:attrNameLst>
                                      </p:cBhvr>
                                      <p:to>
                                        <p:strVal val="visible"/>
                                      </p:to>
                                    </p:set>
                                    <p:animEffect transition="in" filter="fade">
                                      <p:cBhvr>
                                        <p:cTn id="165" dur="500"/>
                                        <p:tgtEl>
                                          <p:spTgt spid="144"/>
                                        </p:tgtEl>
                                      </p:cBhvr>
                                    </p:animEffect>
                                  </p:childTnLst>
                                </p:cTn>
                              </p:par>
                              <p:par>
                                <p:cTn id="166" presetID="10" presetClass="entr" presetSubtype="0" fill="hold" grpId="0" nodeType="withEffect">
                                  <p:stCondLst>
                                    <p:cond delay="0"/>
                                  </p:stCondLst>
                                  <p:childTnLst>
                                    <p:set>
                                      <p:cBhvr>
                                        <p:cTn id="167" dur="1" fill="hold">
                                          <p:stCondLst>
                                            <p:cond delay="0"/>
                                          </p:stCondLst>
                                        </p:cTn>
                                        <p:tgtEl>
                                          <p:spTgt spid="145"/>
                                        </p:tgtEl>
                                        <p:attrNameLst>
                                          <p:attrName>style.visibility</p:attrName>
                                        </p:attrNameLst>
                                      </p:cBhvr>
                                      <p:to>
                                        <p:strVal val="visible"/>
                                      </p:to>
                                    </p:set>
                                    <p:animEffect transition="in" filter="fade">
                                      <p:cBhvr>
                                        <p:cTn id="168" dur="500"/>
                                        <p:tgtEl>
                                          <p:spTgt spid="145"/>
                                        </p:tgtEl>
                                      </p:cBhvr>
                                    </p:animEffect>
                                  </p:childTnLst>
                                </p:cTn>
                              </p:par>
                              <p:par>
                                <p:cTn id="169" presetID="10" presetClass="entr" presetSubtype="0" fill="hold" grpId="0" nodeType="withEffect">
                                  <p:stCondLst>
                                    <p:cond delay="0"/>
                                  </p:stCondLst>
                                  <p:childTnLst>
                                    <p:set>
                                      <p:cBhvr>
                                        <p:cTn id="170" dur="1" fill="hold">
                                          <p:stCondLst>
                                            <p:cond delay="0"/>
                                          </p:stCondLst>
                                        </p:cTn>
                                        <p:tgtEl>
                                          <p:spTgt spid="142"/>
                                        </p:tgtEl>
                                        <p:attrNameLst>
                                          <p:attrName>style.visibility</p:attrName>
                                        </p:attrNameLst>
                                      </p:cBhvr>
                                      <p:to>
                                        <p:strVal val="visible"/>
                                      </p:to>
                                    </p:set>
                                    <p:animEffect transition="in" filter="fade">
                                      <p:cBhvr>
                                        <p:cTn id="171" dur="500"/>
                                        <p:tgtEl>
                                          <p:spTgt spid="142"/>
                                        </p:tgtEl>
                                      </p:cBhvr>
                                    </p:animEffect>
                                  </p:childTnLst>
                                </p:cTn>
                              </p:par>
                              <p:par>
                                <p:cTn id="172" presetID="10" presetClass="entr" presetSubtype="0" fill="hold" nodeType="withEffect">
                                  <p:stCondLst>
                                    <p:cond delay="0"/>
                                  </p:stCondLst>
                                  <p:childTnLst>
                                    <p:set>
                                      <p:cBhvr>
                                        <p:cTn id="173" dur="1" fill="hold">
                                          <p:stCondLst>
                                            <p:cond delay="0"/>
                                          </p:stCondLst>
                                        </p:cTn>
                                        <p:tgtEl>
                                          <p:spTgt spid="143"/>
                                        </p:tgtEl>
                                        <p:attrNameLst>
                                          <p:attrName>style.visibility</p:attrName>
                                        </p:attrNameLst>
                                      </p:cBhvr>
                                      <p:to>
                                        <p:strVal val="visible"/>
                                      </p:to>
                                    </p:set>
                                    <p:animEffect transition="in" filter="fade">
                                      <p:cBhvr>
                                        <p:cTn id="174" dur="500"/>
                                        <p:tgtEl>
                                          <p:spTgt spid="143"/>
                                        </p:tgtEl>
                                      </p:cBhvr>
                                    </p:animEffect>
                                  </p:childTnLst>
                                </p:cTn>
                              </p:par>
                              <p:par>
                                <p:cTn id="175" presetID="10" presetClass="entr" presetSubtype="0" fill="hold" grpId="0" nodeType="withEffect">
                                  <p:stCondLst>
                                    <p:cond delay="0"/>
                                  </p:stCondLst>
                                  <p:childTnLst>
                                    <p:set>
                                      <p:cBhvr>
                                        <p:cTn id="176" dur="1" fill="hold">
                                          <p:stCondLst>
                                            <p:cond delay="0"/>
                                          </p:stCondLst>
                                        </p:cTn>
                                        <p:tgtEl>
                                          <p:spTgt spid="141"/>
                                        </p:tgtEl>
                                        <p:attrNameLst>
                                          <p:attrName>style.visibility</p:attrName>
                                        </p:attrNameLst>
                                      </p:cBhvr>
                                      <p:to>
                                        <p:strVal val="visible"/>
                                      </p:to>
                                    </p:set>
                                    <p:animEffect transition="in" filter="fade">
                                      <p:cBhvr>
                                        <p:cTn id="177" dur="500"/>
                                        <p:tgtEl>
                                          <p:spTgt spid="141"/>
                                        </p:tgtEl>
                                      </p:cBhvr>
                                    </p:animEffect>
                                  </p:childTnLst>
                                </p:cTn>
                              </p:par>
                            </p:childTnLst>
                          </p:cTn>
                        </p:par>
                      </p:childTnLst>
                    </p:cTn>
                  </p:par>
                  <p:par>
                    <p:cTn id="178" fill="hold">
                      <p:stCondLst>
                        <p:cond delay="indefinite"/>
                      </p:stCondLst>
                      <p:childTnLst>
                        <p:par>
                          <p:cTn id="179" fill="hold">
                            <p:stCondLst>
                              <p:cond delay="0"/>
                            </p:stCondLst>
                            <p:childTnLst>
                              <p:par>
                                <p:cTn id="180" presetID="10" presetClass="entr" presetSubtype="0" fill="hold" nodeType="clickEffect">
                                  <p:stCondLst>
                                    <p:cond delay="0"/>
                                  </p:stCondLst>
                                  <p:childTnLst>
                                    <p:set>
                                      <p:cBhvr>
                                        <p:cTn id="181" dur="1" fill="hold">
                                          <p:stCondLst>
                                            <p:cond delay="0"/>
                                          </p:stCondLst>
                                        </p:cTn>
                                        <p:tgtEl>
                                          <p:spTgt spid="149"/>
                                        </p:tgtEl>
                                        <p:attrNameLst>
                                          <p:attrName>style.visibility</p:attrName>
                                        </p:attrNameLst>
                                      </p:cBhvr>
                                      <p:to>
                                        <p:strVal val="visible"/>
                                      </p:to>
                                    </p:set>
                                    <p:animEffect transition="in" filter="fade">
                                      <p:cBhvr>
                                        <p:cTn id="182" dur="500"/>
                                        <p:tgtEl>
                                          <p:spTgt spid="149"/>
                                        </p:tgtEl>
                                      </p:cBhvr>
                                    </p:animEffect>
                                  </p:childTnLst>
                                </p:cTn>
                              </p:par>
                              <p:par>
                                <p:cTn id="183" presetID="10" presetClass="entr" presetSubtype="0" fill="hold" grpId="0" nodeType="withEffect">
                                  <p:stCondLst>
                                    <p:cond delay="0"/>
                                  </p:stCondLst>
                                  <p:childTnLst>
                                    <p:set>
                                      <p:cBhvr>
                                        <p:cTn id="184" dur="1" fill="hold">
                                          <p:stCondLst>
                                            <p:cond delay="0"/>
                                          </p:stCondLst>
                                        </p:cTn>
                                        <p:tgtEl>
                                          <p:spTgt spid="147"/>
                                        </p:tgtEl>
                                        <p:attrNameLst>
                                          <p:attrName>style.visibility</p:attrName>
                                        </p:attrNameLst>
                                      </p:cBhvr>
                                      <p:to>
                                        <p:strVal val="visible"/>
                                      </p:to>
                                    </p:set>
                                    <p:animEffect transition="in" filter="fade">
                                      <p:cBhvr>
                                        <p:cTn id="185" dur="500"/>
                                        <p:tgtEl>
                                          <p:spTgt spid="147"/>
                                        </p:tgtEl>
                                      </p:cBhvr>
                                    </p:animEffect>
                                  </p:childTnLst>
                                </p:cTn>
                              </p:par>
                              <p:par>
                                <p:cTn id="186" presetID="10" presetClass="entr" presetSubtype="0" fill="hold" nodeType="withEffect">
                                  <p:stCondLst>
                                    <p:cond delay="0"/>
                                  </p:stCondLst>
                                  <p:childTnLst>
                                    <p:set>
                                      <p:cBhvr>
                                        <p:cTn id="187" dur="1" fill="hold">
                                          <p:stCondLst>
                                            <p:cond delay="0"/>
                                          </p:stCondLst>
                                        </p:cTn>
                                        <p:tgtEl>
                                          <p:spTgt spid="148"/>
                                        </p:tgtEl>
                                        <p:attrNameLst>
                                          <p:attrName>style.visibility</p:attrName>
                                        </p:attrNameLst>
                                      </p:cBhvr>
                                      <p:to>
                                        <p:strVal val="visible"/>
                                      </p:to>
                                    </p:set>
                                    <p:animEffect transition="in" filter="fade">
                                      <p:cBhvr>
                                        <p:cTn id="188" dur="500"/>
                                        <p:tgtEl>
                                          <p:spTgt spid="148"/>
                                        </p:tgtEl>
                                      </p:cBhvr>
                                    </p:animEffect>
                                  </p:childTnLst>
                                </p:cTn>
                              </p:par>
                              <p:par>
                                <p:cTn id="189" presetID="10" presetClass="entr" presetSubtype="0" fill="hold" grpId="0" nodeType="withEffect">
                                  <p:stCondLst>
                                    <p:cond delay="0"/>
                                  </p:stCondLst>
                                  <p:childTnLst>
                                    <p:set>
                                      <p:cBhvr>
                                        <p:cTn id="190" dur="1" fill="hold">
                                          <p:stCondLst>
                                            <p:cond delay="0"/>
                                          </p:stCondLst>
                                        </p:cTn>
                                        <p:tgtEl>
                                          <p:spTgt spid="146"/>
                                        </p:tgtEl>
                                        <p:attrNameLst>
                                          <p:attrName>style.visibility</p:attrName>
                                        </p:attrNameLst>
                                      </p:cBhvr>
                                      <p:to>
                                        <p:strVal val="visible"/>
                                      </p:to>
                                    </p:set>
                                    <p:animEffect transition="in" filter="fade">
                                      <p:cBhvr>
                                        <p:cTn id="191"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 grpId="0" animBg="1"/>
      <p:bldP spid="114" grpId="0"/>
      <p:bldP spid="115" grpId="0" animBg="1"/>
      <p:bldP spid="116" grpId="0" animBg="1"/>
      <p:bldP spid="117" grpId="0" animBg="1"/>
      <p:bldP spid="118" grpId="0" animBg="1"/>
      <p:bldP spid="119" grpId="0" animBg="1"/>
      <p:bldP spid="124" grpId="0" animBg="1"/>
      <p:bldP spid="125" grpId="0"/>
      <p:bldP spid="126" grpId="0" animBg="1"/>
      <p:bldP spid="128" grpId="0" animBg="1"/>
      <p:bldP spid="141" grpId="0" animBg="1"/>
      <p:bldP spid="142" grpId="0"/>
      <p:bldP spid="145" grpId="0" animBg="1"/>
      <p:bldP spid="146" grpId="0" animBg="1"/>
      <p:bldP spid="147" grpId="0"/>
      <p:bldP spid="161" grpId="0" animBg="1"/>
      <p:bldP spid="166" grpId="0" animBg="1"/>
      <p:bldP spid="191" grpId="0" animBg="1"/>
      <p:bldP spid="180" grpId="0" animBg="1"/>
      <p:bldP spid="190" grpId="0" animBg="1"/>
      <p:bldP spid="181" grpId="0"/>
      <p:bldP spid="187" grpId="0" animBg="1"/>
      <p:bldP spid="188" grpId="0"/>
      <p:bldP spid="177" grpId="0" animBg="1"/>
      <p:bldP spid="179" grpId="0"/>
      <p:bldP spid="168" grpId="0" animBg="1"/>
      <p:bldP spid="169" grpId="0" animBg="1"/>
      <p:bldP spid="167"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787349" y="4541466"/>
            <a:ext cx="9134475" cy="1885950"/>
          </a:xfrm>
          <a:prstGeom prst="rect">
            <a:avLst/>
          </a:prstGeom>
        </p:spPr>
      </p:pic>
      <p:sp>
        <p:nvSpPr>
          <p:cNvPr id="2" name="Title 1"/>
          <p:cNvSpPr txBox="1">
            <a:spLocks/>
          </p:cNvSpPr>
          <p:nvPr/>
        </p:nvSpPr>
        <p:spPr>
          <a:xfrm>
            <a:off x="199795" y="82543"/>
            <a:ext cx="11884506" cy="1052854"/>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Simple ADF:</a:t>
            </a:r>
          </a:p>
        </p:txBody>
      </p:sp>
      <p:sp>
        <p:nvSpPr>
          <p:cNvPr id="75" name="Title 1"/>
          <p:cNvSpPr txBox="1">
            <a:spLocks/>
          </p:cNvSpPr>
          <p:nvPr/>
        </p:nvSpPr>
        <p:spPr>
          <a:xfrm>
            <a:off x="808804" y="1135397"/>
            <a:ext cx="11008844" cy="2590432"/>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571390" indent="-571390" defTabSz="932563">
              <a:buFont typeface="Arial" panose="020B0604020202020204" pitchFamily="34" charset="0"/>
              <a:buChar char="•"/>
              <a:defRPr/>
            </a:pPr>
            <a:r>
              <a:rPr lang="en-US" sz="3264" b="1" dirty="0">
                <a:solidFill>
                  <a:schemeClr val="bg1"/>
                </a:solidFill>
              </a:rPr>
              <a:t>Business Goal: </a:t>
            </a:r>
            <a:r>
              <a:rPr lang="en-US" sz="3264" b="1" dirty="0">
                <a:solidFill>
                  <a:srgbClr val="C00000"/>
                </a:solidFill>
              </a:rPr>
              <a:t>Transform and Analyze Web Logs each month</a:t>
            </a:r>
          </a:p>
          <a:p>
            <a:pPr marL="571390" indent="-571390" defTabSz="932563">
              <a:buFont typeface="Arial" panose="020B0604020202020204" pitchFamily="34" charset="0"/>
              <a:buChar char="•"/>
              <a:defRPr/>
            </a:pPr>
            <a:endParaRPr lang="en-US" sz="3264" b="1" dirty="0">
              <a:solidFill>
                <a:srgbClr val="C00000"/>
              </a:solidFill>
            </a:endParaRPr>
          </a:p>
          <a:p>
            <a:pPr marL="571390" indent="-571390" defTabSz="932563">
              <a:buFont typeface="Arial" panose="020B0604020202020204" pitchFamily="34" charset="0"/>
              <a:buChar char="•"/>
              <a:defRPr/>
            </a:pPr>
            <a:r>
              <a:rPr lang="en-US" sz="3264" b="1" dirty="0">
                <a:solidFill>
                  <a:schemeClr val="bg1"/>
                </a:solidFill>
              </a:rPr>
              <a:t>Design Process: </a:t>
            </a:r>
            <a:r>
              <a:rPr lang="en-US" sz="3264" b="1" dirty="0">
                <a:solidFill>
                  <a:srgbClr val="C00000"/>
                </a:solidFill>
              </a:rPr>
              <a:t>Transform Raw Weblogs, using a Hive Query, storing the results in Blob Storage</a:t>
            </a:r>
          </a:p>
        </p:txBody>
      </p:sp>
      <p:cxnSp>
        <p:nvCxnSpPr>
          <p:cNvPr id="6" name="Straight Arrow Connector 5"/>
          <p:cNvCxnSpPr/>
          <p:nvPr/>
        </p:nvCxnSpPr>
        <p:spPr>
          <a:xfrm>
            <a:off x="1139774" y="4707682"/>
            <a:ext cx="1269004" cy="364797"/>
          </a:xfrm>
          <a:prstGeom prst="straightConnector1">
            <a:avLst/>
          </a:prstGeom>
          <a:ln w="9525"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8" name="Rectangle 7"/>
          <p:cNvSpPr/>
          <p:nvPr/>
        </p:nvSpPr>
        <p:spPr>
          <a:xfrm>
            <a:off x="285338" y="3922137"/>
            <a:ext cx="1312456" cy="923330"/>
          </a:xfrm>
          <a:prstGeom prst="rect">
            <a:avLst/>
          </a:prstGeom>
        </p:spPr>
        <p:txBody>
          <a:bodyPr wrap="square">
            <a:spAutoFit/>
          </a:bodyPr>
          <a:lstStyle/>
          <a:p>
            <a:pPr defTabSz="914224"/>
            <a:r>
              <a:rPr lang="en-US" kern="0" dirty="0">
                <a:solidFill>
                  <a:schemeClr val="accent4">
                    <a:lumMod val="75000"/>
                  </a:schemeClr>
                </a:solidFill>
              </a:rPr>
              <a:t>Web Logs Loaded to Blob</a:t>
            </a:r>
          </a:p>
        </p:txBody>
      </p:sp>
      <p:cxnSp>
        <p:nvCxnSpPr>
          <p:cNvPr id="83" name="Straight Arrow Connector 82"/>
          <p:cNvCxnSpPr/>
          <p:nvPr/>
        </p:nvCxnSpPr>
        <p:spPr>
          <a:xfrm flipV="1">
            <a:off x="9696450" y="3828737"/>
            <a:ext cx="866775" cy="1243742"/>
          </a:xfrm>
          <a:prstGeom prst="straightConnector1">
            <a:avLst/>
          </a:prstGeom>
          <a:ln w="9525"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84" name="Rectangle 83"/>
          <p:cNvSpPr/>
          <p:nvPr/>
        </p:nvSpPr>
        <p:spPr>
          <a:xfrm>
            <a:off x="10668723" y="3193040"/>
            <a:ext cx="1371909" cy="1224224"/>
          </a:xfrm>
          <a:prstGeom prst="rect">
            <a:avLst/>
          </a:prstGeom>
        </p:spPr>
        <p:txBody>
          <a:bodyPr wrap="square">
            <a:spAutoFit/>
          </a:bodyPr>
          <a:lstStyle/>
          <a:p>
            <a:pPr defTabSz="914224"/>
            <a:r>
              <a:rPr lang="en-US" kern="0" dirty="0">
                <a:solidFill>
                  <a:schemeClr val="accent4">
                    <a:lumMod val="75000"/>
                  </a:schemeClr>
                </a:solidFill>
              </a:rPr>
              <a:t>Files ready for analysis and use in AzureML</a:t>
            </a:r>
          </a:p>
        </p:txBody>
      </p:sp>
      <p:pic>
        <p:nvPicPr>
          <p:cNvPr id="7" name="Picture 6"/>
          <p:cNvPicPr>
            <a:picLocks noChangeAspect="1"/>
          </p:cNvPicPr>
          <p:nvPr/>
        </p:nvPicPr>
        <p:blipFill>
          <a:blip r:embed="rId4">
            <a:duotone>
              <a:prstClr val="black"/>
              <a:schemeClr val="accent4">
                <a:tint val="45000"/>
                <a:satMod val="400000"/>
              </a:schemeClr>
            </a:duotone>
          </a:blip>
          <a:stretch>
            <a:fillRect/>
          </a:stretch>
        </p:blipFill>
        <p:spPr>
          <a:xfrm>
            <a:off x="5925382" y="4778683"/>
            <a:ext cx="1202326" cy="1214348"/>
          </a:xfrm>
          <a:prstGeom prst="rect">
            <a:avLst/>
          </a:prstGeom>
        </p:spPr>
      </p:pic>
      <p:cxnSp>
        <p:nvCxnSpPr>
          <p:cNvPr id="17" name="Straight Arrow Connector 16"/>
          <p:cNvCxnSpPr/>
          <p:nvPr/>
        </p:nvCxnSpPr>
        <p:spPr>
          <a:xfrm>
            <a:off x="6458552" y="4225491"/>
            <a:ext cx="115504" cy="553192"/>
          </a:xfrm>
          <a:prstGeom prst="straightConnector1">
            <a:avLst/>
          </a:prstGeom>
          <a:ln w="9525"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8" name="Rectangle 17"/>
          <p:cNvSpPr/>
          <p:nvPr/>
        </p:nvSpPr>
        <p:spPr>
          <a:xfrm>
            <a:off x="5381320" y="3556035"/>
            <a:ext cx="2385472" cy="923330"/>
          </a:xfrm>
          <a:prstGeom prst="rect">
            <a:avLst/>
          </a:prstGeom>
        </p:spPr>
        <p:txBody>
          <a:bodyPr wrap="square">
            <a:spAutoFit/>
          </a:bodyPr>
          <a:lstStyle/>
          <a:p>
            <a:pPr defTabSz="914224"/>
            <a:r>
              <a:rPr lang="en-US" kern="0" dirty="0">
                <a:solidFill>
                  <a:schemeClr val="accent4">
                    <a:lumMod val="75000"/>
                  </a:schemeClr>
                </a:solidFill>
              </a:rPr>
              <a:t>HDInsight HIVE query to transform Log entries</a:t>
            </a:r>
          </a:p>
        </p:txBody>
      </p:sp>
    </p:spTree>
    <p:extLst>
      <p:ext uri="{BB962C8B-B14F-4D97-AF65-F5344CB8AC3E}">
        <p14:creationId xmlns:p14="http://schemas.microsoft.com/office/powerpoint/2010/main" val="399630529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par>
                          <p:cTn id="23" fill="hold">
                            <p:stCondLst>
                              <p:cond delay="500"/>
                            </p:stCondLst>
                            <p:childTnLst>
                              <p:par>
                                <p:cTn id="24" presetID="10" presetClass="entr" presetSubtype="0" fill="hold"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83"/>
                                        </p:tgtEl>
                                        <p:attrNameLst>
                                          <p:attrName>style.visibility</p:attrName>
                                        </p:attrNameLst>
                                      </p:cBhvr>
                                      <p:to>
                                        <p:strVal val="visible"/>
                                      </p:to>
                                    </p:set>
                                    <p:animEffect transition="in" filter="fade">
                                      <p:cBhvr>
                                        <p:cTn id="31" dur="500"/>
                                        <p:tgtEl>
                                          <p:spTgt spid="8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4"/>
                                        </p:tgtEl>
                                        <p:attrNameLst>
                                          <p:attrName>style.visibility</p:attrName>
                                        </p:attrNameLst>
                                      </p:cBhvr>
                                      <p:to>
                                        <p:strVal val="visible"/>
                                      </p:to>
                                    </p:set>
                                    <p:animEffect transition="in" filter="fade">
                                      <p:cBhvr>
                                        <p:cTn id="34" dur="5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4" grpId="0"/>
      <p:bldP spid="18" grpId="0"/>
    </p:bld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61925"/>
            <a:ext cx="7267575" cy="1042988"/>
          </a:xfrm>
        </p:spPr>
        <p:txBody>
          <a:bodyPr vert="horz" lIns="186521" tIns="46630" rIns="186521" bIns="46630" rtlCol="0" anchor="t">
            <a:noAutofit/>
          </a:bodyPr>
          <a:lstStyle/>
          <a:p>
            <a:r>
              <a:rPr lang="en-US" dirty="0">
                <a:solidFill>
                  <a:schemeClr val="bg1"/>
                </a:solidFill>
              </a:rPr>
              <a:t>2. Create the Data Factory</a:t>
            </a:r>
          </a:p>
        </p:txBody>
      </p:sp>
      <p:sp>
        <p:nvSpPr>
          <p:cNvPr id="3" name="Title 1"/>
          <p:cNvSpPr txBox="1">
            <a:spLocks/>
          </p:cNvSpPr>
          <p:nvPr/>
        </p:nvSpPr>
        <p:spPr>
          <a:xfrm>
            <a:off x="2550442" y="2367891"/>
            <a:ext cx="7174535" cy="219276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7198" dirty="0">
                <a:solidFill>
                  <a:schemeClr val="bg1"/>
                </a:solidFill>
              </a:rPr>
              <a:t>Portal, PowerShell and Visual Studio</a:t>
            </a:r>
          </a:p>
        </p:txBody>
      </p:sp>
    </p:spTree>
    <p:extLst>
      <p:ext uri="{BB962C8B-B14F-4D97-AF65-F5344CB8AC3E}">
        <p14:creationId xmlns:p14="http://schemas.microsoft.com/office/powerpoint/2010/main" val="11917502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6" y="82543"/>
            <a:ext cx="5485118" cy="2424260"/>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Using the Portal</a:t>
            </a:r>
          </a:p>
        </p:txBody>
      </p:sp>
      <p:pic>
        <p:nvPicPr>
          <p:cNvPr id="3" name="Picture 2"/>
          <p:cNvPicPr>
            <a:picLocks noChangeAspect="1"/>
          </p:cNvPicPr>
          <p:nvPr/>
        </p:nvPicPr>
        <p:blipFill>
          <a:blip r:embed="rId3"/>
          <a:stretch>
            <a:fillRect/>
          </a:stretch>
        </p:blipFill>
        <p:spPr>
          <a:xfrm>
            <a:off x="5818229" y="497"/>
            <a:ext cx="6618246" cy="4106279"/>
          </a:xfrm>
          <a:prstGeom prst="rect">
            <a:avLst/>
          </a:prstGeom>
        </p:spPr>
      </p:pic>
      <p:sp>
        <p:nvSpPr>
          <p:cNvPr id="6" name="Title 1"/>
          <p:cNvSpPr txBox="1">
            <a:spLocks/>
          </p:cNvSpPr>
          <p:nvPr/>
        </p:nvSpPr>
        <p:spPr>
          <a:xfrm>
            <a:off x="757082" y="4430856"/>
            <a:ext cx="10361226" cy="22856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571390" indent="-571390" defTabSz="932563">
              <a:buFont typeface="Arial" panose="020B0604020202020204" pitchFamily="34" charset="0"/>
              <a:buChar char="•"/>
              <a:defRPr/>
            </a:pPr>
            <a:r>
              <a:rPr lang="en-US" sz="4488" b="1" dirty="0">
                <a:solidFill>
                  <a:schemeClr val="bg1"/>
                </a:solidFill>
              </a:rPr>
              <a:t>Use in Non-MS Clients</a:t>
            </a:r>
          </a:p>
          <a:p>
            <a:pPr marL="571390" indent="-571390" defTabSz="932563">
              <a:buFont typeface="Arial" panose="020B0604020202020204" pitchFamily="34" charset="0"/>
              <a:buChar char="•"/>
              <a:defRPr/>
            </a:pPr>
            <a:r>
              <a:rPr lang="en-US" sz="4488" b="1" dirty="0">
                <a:solidFill>
                  <a:schemeClr val="bg1"/>
                </a:solidFill>
              </a:rPr>
              <a:t>Use for Exploration</a:t>
            </a:r>
          </a:p>
          <a:p>
            <a:pPr marL="571390" indent="-571390" defTabSz="932563">
              <a:buFont typeface="Arial" panose="020B0604020202020204" pitchFamily="34" charset="0"/>
              <a:buChar char="•"/>
              <a:defRPr/>
            </a:pPr>
            <a:r>
              <a:rPr lang="en-US" sz="4488" b="1" dirty="0">
                <a:solidFill>
                  <a:schemeClr val="bg1"/>
                </a:solidFill>
              </a:rPr>
              <a:t>Use when teaching or in a Demo</a:t>
            </a:r>
          </a:p>
        </p:txBody>
      </p:sp>
    </p:spTree>
    <p:extLst>
      <p:ext uri="{BB962C8B-B14F-4D97-AF65-F5344CB8AC3E}">
        <p14:creationId xmlns:p14="http://schemas.microsoft.com/office/powerpoint/2010/main" val="370601715"/>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4671537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7" y="82543"/>
            <a:ext cx="5408929" cy="3033774"/>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Using PowerShell</a:t>
            </a:r>
          </a:p>
        </p:txBody>
      </p:sp>
      <p:pic>
        <p:nvPicPr>
          <p:cNvPr id="3" name="Picture 2"/>
          <p:cNvPicPr>
            <a:picLocks noChangeAspect="1"/>
          </p:cNvPicPr>
          <p:nvPr/>
        </p:nvPicPr>
        <p:blipFill>
          <a:blip r:embed="rId3"/>
          <a:stretch>
            <a:fillRect/>
          </a:stretch>
        </p:blipFill>
        <p:spPr>
          <a:xfrm>
            <a:off x="5749231" y="496"/>
            <a:ext cx="6686363" cy="4258658"/>
          </a:xfrm>
          <a:prstGeom prst="rect">
            <a:avLst/>
          </a:prstGeom>
        </p:spPr>
      </p:pic>
      <p:sp>
        <p:nvSpPr>
          <p:cNvPr id="4" name="Title 1"/>
          <p:cNvSpPr txBox="1">
            <a:spLocks/>
          </p:cNvSpPr>
          <p:nvPr/>
        </p:nvSpPr>
        <p:spPr>
          <a:xfrm>
            <a:off x="199796" y="4411532"/>
            <a:ext cx="11884506" cy="22856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571390" indent="-571390" defTabSz="932563">
              <a:buFont typeface="Arial" panose="020B0604020202020204" pitchFamily="34" charset="0"/>
              <a:buChar char="•"/>
              <a:defRPr/>
            </a:pPr>
            <a:r>
              <a:rPr lang="en-US" sz="5399" b="1" dirty="0">
                <a:solidFill>
                  <a:schemeClr val="bg1"/>
                </a:solidFill>
              </a:rPr>
              <a:t>Use in MS Clients</a:t>
            </a:r>
          </a:p>
          <a:p>
            <a:pPr marL="571390" indent="-571390" defTabSz="932563">
              <a:buFont typeface="Arial" panose="020B0604020202020204" pitchFamily="34" charset="0"/>
              <a:buChar char="•"/>
              <a:defRPr/>
            </a:pPr>
            <a:r>
              <a:rPr lang="en-US" sz="5399" b="1" dirty="0">
                <a:solidFill>
                  <a:schemeClr val="bg1"/>
                </a:solidFill>
              </a:rPr>
              <a:t>Use for Automation</a:t>
            </a:r>
          </a:p>
          <a:p>
            <a:pPr marL="571390" indent="-571390" defTabSz="932563">
              <a:buFont typeface="Arial" panose="020B0604020202020204" pitchFamily="34" charset="0"/>
              <a:buChar char="•"/>
              <a:defRPr/>
            </a:pPr>
            <a:r>
              <a:rPr lang="en-US" sz="5399" b="1" dirty="0">
                <a:solidFill>
                  <a:schemeClr val="bg1"/>
                </a:solidFill>
              </a:rPr>
              <a:t>Use for quick set up and tear down</a:t>
            </a:r>
          </a:p>
        </p:txBody>
      </p:sp>
    </p:spTree>
    <p:extLst>
      <p:ext uri="{BB962C8B-B14F-4D97-AF65-F5344CB8AC3E}">
        <p14:creationId xmlns:p14="http://schemas.microsoft.com/office/powerpoint/2010/main" val="1610515199"/>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3"/>
            <a:ext cx="11884506" cy="976665"/>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PowerShell ADF Example</a:t>
            </a:r>
          </a:p>
        </p:txBody>
      </p:sp>
      <p:sp>
        <p:nvSpPr>
          <p:cNvPr id="4" name="Title 1"/>
          <p:cNvSpPr txBox="1">
            <a:spLocks/>
          </p:cNvSpPr>
          <p:nvPr/>
        </p:nvSpPr>
        <p:spPr>
          <a:xfrm>
            <a:off x="123103" y="1363965"/>
            <a:ext cx="12312491" cy="533324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742807" indent="-742807" defTabSz="932563">
              <a:buFont typeface="+mj-lt"/>
              <a:buAutoNum type="arabicPeriod"/>
              <a:defRPr/>
            </a:pPr>
            <a:r>
              <a:rPr lang="en-US" sz="3199" b="1" dirty="0">
                <a:solidFill>
                  <a:schemeClr val="bg1"/>
                </a:solidFill>
              </a:rPr>
              <a:t>Run </a:t>
            </a:r>
            <a:r>
              <a:rPr lang="en-US" sz="3199" b="1" dirty="0">
                <a:solidFill>
                  <a:srgbClr val="00B050"/>
                </a:solidFill>
                <a:latin typeface="Courier New" panose="02070309020205020404" pitchFamily="49" charset="0"/>
                <a:cs typeface="Courier New" panose="02070309020205020404" pitchFamily="49" charset="0"/>
              </a:rPr>
              <a:t>Add-</a:t>
            </a:r>
            <a:r>
              <a:rPr lang="en-US" sz="3199" b="1" dirty="0" err="1">
                <a:solidFill>
                  <a:srgbClr val="00B050"/>
                </a:solidFill>
                <a:latin typeface="Courier New" panose="02070309020205020404" pitchFamily="49" charset="0"/>
                <a:cs typeface="Courier New" panose="02070309020205020404" pitchFamily="49" charset="0"/>
              </a:rPr>
              <a:t>AzureAccount</a:t>
            </a:r>
            <a:r>
              <a:rPr lang="en-US" sz="3199" b="1" dirty="0">
                <a:solidFill>
                  <a:schemeClr val="bg1"/>
                </a:solidFill>
              </a:rPr>
              <a:t> and enter the user name and password</a:t>
            </a:r>
          </a:p>
          <a:p>
            <a:pPr marL="742807" indent="-742807" defTabSz="932563">
              <a:buFont typeface="+mj-lt"/>
              <a:buAutoNum type="arabicPeriod"/>
              <a:defRPr/>
            </a:pPr>
            <a:r>
              <a:rPr lang="en-US" sz="3199" b="1" dirty="0">
                <a:solidFill>
                  <a:schemeClr val="bg1"/>
                </a:solidFill>
              </a:rPr>
              <a:t>Run </a:t>
            </a:r>
            <a:r>
              <a:rPr lang="en-US" sz="3199" b="1" dirty="0">
                <a:solidFill>
                  <a:srgbClr val="00B050"/>
                </a:solidFill>
                <a:latin typeface="Courier New" panose="02070309020205020404" pitchFamily="49" charset="0"/>
                <a:cs typeface="Courier New" panose="02070309020205020404" pitchFamily="49" charset="0"/>
              </a:rPr>
              <a:t>Get-</a:t>
            </a:r>
            <a:r>
              <a:rPr lang="en-US" sz="3199" b="1" dirty="0" err="1">
                <a:solidFill>
                  <a:srgbClr val="00B050"/>
                </a:solidFill>
                <a:latin typeface="Courier New" panose="02070309020205020404" pitchFamily="49" charset="0"/>
                <a:cs typeface="Courier New" panose="02070309020205020404" pitchFamily="49" charset="0"/>
              </a:rPr>
              <a:t>AzureSubscription</a:t>
            </a:r>
            <a:r>
              <a:rPr lang="en-US" sz="3199" b="1" dirty="0">
                <a:solidFill>
                  <a:srgbClr val="00B050"/>
                </a:solidFill>
                <a:latin typeface="Courier New" panose="02070309020205020404" pitchFamily="49" charset="0"/>
                <a:cs typeface="Courier New" panose="02070309020205020404" pitchFamily="49" charset="0"/>
              </a:rPr>
              <a:t> </a:t>
            </a:r>
            <a:r>
              <a:rPr lang="en-US" sz="3199" b="1" dirty="0">
                <a:solidFill>
                  <a:schemeClr val="bg1"/>
                </a:solidFill>
              </a:rPr>
              <a:t>to view all the subscriptions for this account.</a:t>
            </a:r>
          </a:p>
          <a:p>
            <a:pPr marL="742807" indent="-742807" defTabSz="932563">
              <a:buFont typeface="+mj-lt"/>
              <a:buAutoNum type="arabicPeriod"/>
              <a:defRPr/>
            </a:pPr>
            <a:r>
              <a:rPr lang="en-US" sz="3199" b="1" dirty="0">
                <a:solidFill>
                  <a:schemeClr val="bg1"/>
                </a:solidFill>
              </a:rPr>
              <a:t>Run </a:t>
            </a:r>
            <a:r>
              <a:rPr lang="en-US" sz="3199" b="1" dirty="0">
                <a:solidFill>
                  <a:srgbClr val="00B050"/>
                </a:solidFill>
                <a:latin typeface="Courier New" panose="02070309020205020404" pitchFamily="49" charset="0"/>
                <a:cs typeface="Courier New" panose="02070309020205020404" pitchFamily="49" charset="0"/>
              </a:rPr>
              <a:t>Select-</a:t>
            </a:r>
            <a:r>
              <a:rPr lang="en-US" sz="3199" b="1" dirty="0" err="1">
                <a:solidFill>
                  <a:srgbClr val="00B050"/>
                </a:solidFill>
                <a:latin typeface="Courier New" panose="02070309020205020404" pitchFamily="49" charset="0"/>
                <a:cs typeface="Courier New" panose="02070309020205020404" pitchFamily="49" charset="0"/>
              </a:rPr>
              <a:t>AzureSubscription</a:t>
            </a:r>
            <a:r>
              <a:rPr lang="en-US" sz="3199" b="1" dirty="0">
                <a:solidFill>
                  <a:srgbClr val="00B050"/>
                </a:solidFill>
                <a:latin typeface="Courier New" panose="02070309020205020404" pitchFamily="49" charset="0"/>
                <a:cs typeface="Courier New" panose="02070309020205020404" pitchFamily="49" charset="0"/>
              </a:rPr>
              <a:t> </a:t>
            </a:r>
            <a:r>
              <a:rPr lang="en-US" sz="3199" b="1" dirty="0">
                <a:solidFill>
                  <a:schemeClr val="bg1"/>
                </a:solidFill>
              </a:rPr>
              <a:t>to select the subscription that you want to work with.</a:t>
            </a:r>
          </a:p>
          <a:p>
            <a:pPr marL="742807" indent="-742807" defTabSz="932563">
              <a:buFont typeface="+mj-lt"/>
              <a:buAutoNum type="arabicPeriod"/>
              <a:defRPr/>
            </a:pPr>
            <a:r>
              <a:rPr lang="en-US" sz="3199" b="1" dirty="0">
                <a:solidFill>
                  <a:schemeClr val="bg1"/>
                </a:solidFill>
              </a:rPr>
              <a:t>Run </a:t>
            </a:r>
            <a:r>
              <a:rPr lang="en-US" sz="3199" b="1" dirty="0">
                <a:solidFill>
                  <a:srgbClr val="00B050"/>
                </a:solidFill>
                <a:latin typeface="Courier New" panose="02070309020205020404" pitchFamily="49" charset="0"/>
                <a:cs typeface="Courier New" panose="02070309020205020404" pitchFamily="49" charset="0"/>
              </a:rPr>
              <a:t>Switch-</a:t>
            </a:r>
            <a:r>
              <a:rPr lang="en-US" sz="3199" b="1" dirty="0" err="1">
                <a:solidFill>
                  <a:srgbClr val="00B050"/>
                </a:solidFill>
                <a:latin typeface="Courier New" panose="02070309020205020404" pitchFamily="49" charset="0"/>
                <a:cs typeface="Courier New" panose="02070309020205020404" pitchFamily="49" charset="0"/>
              </a:rPr>
              <a:t>AzureMode</a:t>
            </a:r>
            <a:r>
              <a:rPr lang="en-US" sz="3199" b="1" dirty="0">
                <a:solidFill>
                  <a:srgbClr val="00B050"/>
                </a:solidFill>
                <a:latin typeface="Courier New" panose="02070309020205020404" pitchFamily="49" charset="0"/>
                <a:cs typeface="Courier New" panose="02070309020205020404" pitchFamily="49" charset="0"/>
              </a:rPr>
              <a:t> </a:t>
            </a:r>
            <a:r>
              <a:rPr lang="en-US" sz="3199" b="1" dirty="0" err="1">
                <a:solidFill>
                  <a:srgbClr val="00B050"/>
                </a:solidFill>
                <a:latin typeface="Courier New" panose="02070309020205020404" pitchFamily="49" charset="0"/>
                <a:cs typeface="Courier New" panose="02070309020205020404" pitchFamily="49" charset="0"/>
              </a:rPr>
              <a:t>AzureResourceManager</a:t>
            </a:r>
            <a:endParaRPr lang="en-US" sz="3199" b="1" dirty="0">
              <a:solidFill>
                <a:srgbClr val="00B050"/>
              </a:solidFill>
              <a:latin typeface="Courier New" panose="02070309020205020404" pitchFamily="49" charset="0"/>
              <a:cs typeface="Courier New" panose="02070309020205020404" pitchFamily="49" charset="0"/>
            </a:endParaRPr>
          </a:p>
          <a:p>
            <a:pPr marL="742807" indent="-742807" defTabSz="932563">
              <a:buFont typeface="+mj-lt"/>
              <a:buAutoNum type="arabicPeriod"/>
              <a:defRPr/>
            </a:pPr>
            <a:r>
              <a:rPr lang="en-US" sz="3199" b="1" dirty="0">
                <a:solidFill>
                  <a:schemeClr val="bg1"/>
                </a:solidFill>
              </a:rPr>
              <a:t>Run </a:t>
            </a:r>
            <a:r>
              <a:rPr lang="en-US" sz="3199" b="1" dirty="0">
                <a:solidFill>
                  <a:srgbClr val="00B050"/>
                </a:solidFill>
                <a:latin typeface="Courier New" panose="02070309020205020404" pitchFamily="49" charset="0"/>
                <a:cs typeface="Courier New" panose="02070309020205020404" pitchFamily="49" charset="0"/>
              </a:rPr>
              <a:t>New-</a:t>
            </a:r>
            <a:r>
              <a:rPr lang="en-US" sz="3199" b="1" dirty="0" err="1">
                <a:solidFill>
                  <a:srgbClr val="00B050"/>
                </a:solidFill>
                <a:latin typeface="Courier New" panose="02070309020205020404" pitchFamily="49" charset="0"/>
                <a:cs typeface="Courier New" panose="02070309020205020404" pitchFamily="49" charset="0"/>
              </a:rPr>
              <a:t>AzureResourceGroup</a:t>
            </a:r>
            <a:r>
              <a:rPr lang="en-US" sz="3199" b="1" dirty="0">
                <a:solidFill>
                  <a:srgbClr val="00B050"/>
                </a:solidFill>
                <a:latin typeface="Courier New" panose="02070309020205020404" pitchFamily="49" charset="0"/>
                <a:cs typeface="Courier New" panose="02070309020205020404" pitchFamily="49" charset="0"/>
              </a:rPr>
              <a:t> -Name </a:t>
            </a:r>
            <a:r>
              <a:rPr lang="en-US" sz="3199" b="1" dirty="0" err="1">
                <a:solidFill>
                  <a:srgbClr val="00B050"/>
                </a:solidFill>
                <a:latin typeface="Courier New" panose="02070309020205020404" pitchFamily="49" charset="0"/>
                <a:cs typeface="Courier New" panose="02070309020205020404" pitchFamily="49" charset="0"/>
              </a:rPr>
              <a:t>ADFTutorialResourceGroup</a:t>
            </a:r>
            <a:r>
              <a:rPr lang="en-US" sz="3199" b="1" dirty="0">
                <a:solidFill>
                  <a:srgbClr val="00B050"/>
                </a:solidFill>
                <a:latin typeface="Courier New" panose="02070309020205020404" pitchFamily="49" charset="0"/>
                <a:cs typeface="Courier New" panose="02070309020205020404" pitchFamily="49" charset="0"/>
              </a:rPr>
              <a:t>  -Location "West US"</a:t>
            </a:r>
          </a:p>
          <a:p>
            <a:pPr marL="742807" indent="-742807" defTabSz="932563">
              <a:buFont typeface="+mj-lt"/>
              <a:buAutoNum type="arabicPeriod"/>
              <a:defRPr/>
            </a:pPr>
            <a:r>
              <a:rPr lang="en-US" sz="3199" b="1" dirty="0">
                <a:solidFill>
                  <a:schemeClr val="bg1"/>
                </a:solidFill>
              </a:rPr>
              <a:t>Run </a:t>
            </a:r>
            <a:r>
              <a:rPr lang="en-US" sz="3199" b="1" dirty="0">
                <a:solidFill>
                  <a:srgbClr val="00B050"/>
                </a:solidFill>
                <a:latin typeface="Courier New" panose="02070309020205020404" pitchFamily="49" charset="0"/>
                <a:cs typeface="Courier New" panose="02070309020205020404" pitchFamily="49" charset="0"/>
              </a:rPr>
              <a:t>New-</a:t>
            </a:r>
            <a:r>
              <a:rPr lang="en-US" sz="3199" b="1" dirty="0" err="1">
                <a:solidFill>
                  <a:srgbClr val="00B050"/>
                </a:solidFill>
                <a:latin typeface="Courier New" panose="02070309020205020404" pitchFamily="49" charset="0"/>
                <a:cs typeface="Courier New" panose="02070309020205020404" pitchFamily="49" charset="0"/>
              </a:rPr>
              <a:t>AzureDataFactory</a:t>
            </a:r>
            <a:r>
              <a:rPr lang="en-US" sz="3199" b="1" dirty="0">
                <a:solidFill>
                  <a:srgbClr val="00B050"/>
                </a:solidFill>
                <a:latin typeface="Courier New" panose="02070309020205020404" pitchFamily="49" charset="0"/>
                <a:cs typeface="Courier New" panose="02070309020205020404" pitchFamily="49" charset="0"/>
              </a:rPr>
              <a:t> -</a:t>
            </a:r>
            <a:r>
              <a:rPr lang="en-US" sz="3199" b="1" dirty="0" err="1">
                <a:solidFill>
                  <a:srgbClr val="00B050"/>
                </a:solidFill>
                <a:latin typeface="Courier New" panose="02070309020205020404" pitchFamily="49" charset="0"/>
                <a:cs typeface="Courier New" panose="02070309020205020404" pitchFamily="49" charset="0"/>
              </a:rPr>
              <a:t>ResourceGroupName</a:t>
            </a:r>
            <a:r>
              <a:rPr lang="en-US" sz="3199" b="1" dirty="0">
                <a:solidFill>
                  <a:srgbClr val="00B050"/>
                </a:solidFill>
                <a:latin typeface="Courier New" panose="02070309020205020404" pitchFamily="49" charset="0"/>
                <a:cs typeface="Courier New" panose="02070309020205020404" pitchFamily="49" charset="0"/>
              </a:rPr>
              <a:t> </a:t>
            </a:r>
            <a:r>
              <a:rPr lang="en-US" sz="3199" b="1" dirty="0" err="1">
                <a:solidFill>
                  <a:srgbClr val="00B050"/>
                </a:solidFill>
                <a:latin typeface="Courier New" panose="02070309020205020404" pitchFamily="49" charset="0"/>
                <a:cs typeface="Courier New" panose="02070309020205020404" pitchFamily="49" charset="0"/>
              </a:rPr>
              <a:t>ADFTutorialResourceGroup</a:t>
            </a:r>
            <a:r>
              <a:rPr lang="en-US" sz="3199" b="1" dirty="0">
                <a:solidFill>
                  <a:srgbClr val="00B050"/>
                </a:solidFill>
                <a:latin typeface="Courier New" panose="02070309020205020404" pitchFamily="49" charset="0"/>
                <a:cs typeface="Courier New" panose="02070309020205020404" pitchFamily="49" charset="0"/>
              </a:rPr>
              <a:t> –Name </a:t>
            </a:r>
            <a:r>
              <a:rPr lang="en-US" sz="3199" b="1" dirty="0" err="1">
                <a:solidFill>
                  <a:srgbClr val="00B050"/>
                </a:solidFill>
                <a:latin typeface="Courier New" panose="02070309020205020404" pitchFamily="49" charset="0"/>
                <a:cs typeface="Courier New" panose="02070309020205020404" pitchFamily="49" charset="0"/>
              </a:rPr>
              <a:t>DataFactory</a:t>
            </a:r>
            <a:r>
              <a:rPr lang="en-US" sz="3199" b="1" dirty="0">
                <a:solidFill>
                  <a:srgbClr val="00B050"/>
                </a:solidFill>
                <a:latin typeface="Courier New" panose="02070309020205020404" pitchFamily="49" charset="0"/>
                <a:cs typeface="Courier New" panose="02070309020205020404" pitchFamily="49" charset="0"/>
              </a:rPr>
              <a:t>(your alias)Pipeline –Location "West US"</a:t>
            </a:r>
          </a:p>
        </p:txBody>
      </p:sp>
    </p:spTree>
    <p:extLst>
      <p:ext uri="{BB962C8B-B14F-4D97-AF65-F5344CB8AC3E}">
        <p14:creationId xmlns:p14="http://schemas.microsoft.com/office/powerpoint/2010/main" val="2670374960"/>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3"/>
            <a:ext cx="5332740" cy="3719477"/>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Using Visual Studio</a:t>
            </a:r>
          </a:p>
        </p:txBody>
      </p:sp>
      <p:sp>
        <p:nvSpPr>
          <p:cNvPr id="6" name="Title 1"/>
          <p:cNvSpPr txBox="1">
            <a:spLocks/>
          </p:cNvSpPr>
          <p:nvPr/>
        </p:nvSpPr>
        <p:spPr>
          <a:xfrm>
            <a:off x="203498" y="4259154"/>
            <a:ext cx="12025220" cy="22856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571390" indent="-571390" defTabSz="932563">
              <a:buFont typeface="Arial" panose="020B0604020202020204" pitchFamily="34" charset="0"/>
              <a:buChar char="•"/>
              <a:defRPr/>
            </a:pPr>
            <a:r>
              <a:rPr lang="en-US" sz="4896" b="1" dirty="0">
                <a:solidFill>
                  <a:schemeClr val="bg1"/>
                </a:solidFill>
              </a:rPr>
              <a:t>Use in mature dev en</a:t>
            </a:r>
            <a:r>
              <a:rPr lang="en-US" sz="4896" b="1" dirty="0" err="1">
                <a:solidFill>
                  <a:schemeClr val="bg1"/>
                </a:solidFill>
              </a:rPr>
              <a:t>vironments</a:t>
            </a:r>
            <a:r>
              <a:rPr lang="en-US" sz="4896" b="1" dirty="0">
                <a:solidFill>
                  <a:schemeClr val="bg1"/>
                </a:solidFill>
              </a:rPr>
              <a:t> </a:t>
            </a:r>
          </a:p>
          <a:p>
            <a:pPr marL="571390" indent="-571390" defTabSz="932563">
              <a:buFont typeface="Arial" panose="020B0604020202020204" pitchFamily="34" charset="0"/>
              <a:buChar char="•"/>
              <a:defRPr/>
            </a:pPr>
            <a:r>
              <a:rPr lang="en-US" sz="4896" b="1" dirty="0">
                <a:solidFill>
                  <a:schemeClr val="bg1"/>
                </a:solidFill>
              </a:rPr>
              <a:t>Use when integrated into larger development process</a:t>
            </a:r>
          </a:p>
        </p:txBody>
      </p:sp>
      <p:pic>
        <p:nvPicPr>
          <p:cNvPr id="4" name="Picture 3"/>
          <p:cNvPicPr>
            <a:picLocks noChangeAspect="1"/>
          </p:cNvPicPr>
          <p:nvPr/>
        </p:nvPicPr>
        <p:blipFill>
          <a:blip r:embed="rId3"/>
          <a:stretch>
            <a:fillRect/>
          </a:stretch>
        </p:blipFill>
        <p:spPr>
          <a:xfrm>
            <a:off x="5695656" y="497"/>
            <a:ext cx="6758263" cy="3801522"/>
          </a:xfrm>
          <a:prstGeom prst="rect">
            <a:avLst/>
          </a:prstGeom>
        </p:spPr>
      </p:pic>
    </p:spTree>
    <p:extLst>
      <p:ext uri="{BB962C8B-B14F-4D97-AF65-F5344CB8AC3E}">
        <p14:creationId xmlns:p14="http://schemas.microsoft.com/office/powerpoint/2010/main" val="2628156800"/>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Create the ADF, Load your Source Data</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632764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87325"/>
            <a:ext cx="7310438" cy="995363"/>
          </a:xfrm>
        </p:spPr>
        <p:txBody>
          <a:bodyPr vert="horz" lIns="186521" tIns="46630" rIns="186521" bIns="46630" rtlCol="0" anchor="t">
            <a:noAutofit/>
          </a:bodyPr>
          <a:lstStyle/>
          <a:p>
            <a:r>
              <a:rPr lang="en-US" dirty="0">
                <a:solidFill>
                  <a:schemeClr val="bg1"/>
                </a:solidFill>
              </a:rPr>
              <a:t>3. Create Linked Services</a:t>
            </a:r>
          </a:p>
        </p:txBody>
      </p:sp>
      <p:sp>
        <p:nvSpPr>
          <p:cNvPr id="3" name="Title 1"/>
          <p:cNvSpPr txBox="1">
            <a:spLocks/>
          </p:cNvSpPr>
          <p:nvPr/>
        </p:nvSpPr>
        <p:spPr>
          <a:xfrm>
            <a:off x="874644" y="1978060"/>
            <a:ext cx="10595113" cy="419414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6000" i="1" dirty="0">
                <a:solidFill>
                  <a:schemeClr val="bg1"/>
                </a:solidFill>
              </a:rPr>
              <a:t>A Connection</a:t>
            </a:r>
            <a:r>
              <a:rPr lang="en-US" sz="6000" dirty="0">
                <a:solidFill>
                  <a:schemeClr val="bg1"/>
                </a:solidFill>
              </a:rPr>
              <a:t> to Data or </a:t>
            </a:r>
            <a:r>
              <a:rPr lang="en-US" sz="6000" i="1" dirty="0">
                <a:solidFill>
                  <a:schemeClr val="bg1"/>
                </a:solidFill>
              </a:rPr>
              <a:t>Connection </a:t>
            </a:r>
            <a:r>
              <a:rPr lang="en-US" sz="6000" dirty="0">
                <a:solidFill>
                  <a:schemeClr val="bg1"/>
                </a:solidFill>
              </a:rPr>
              <a:t>to Compute Resource – Also termed “Data Store”</a:t>
            </a:r>
          </a:p>
        </p:txBody>
      </p:sp>
    </p:spTree>
    <p:extLst>
      <p:ext uri="{BB962C8B-B14F-4D97-AF65-F5344CB8AC3E}">
        <p14:creationId xmlns:p14="http://schemas.microsoft.com/office/powerpoint/2010/main" val="9151130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2"/>
            <a:ext cx="11884506" cy="762581"/>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Data Options</a:t>
            </a:r>
          </a:p>
        </p:txBody>
      </p:sp>
      <p:pic>
        <p:nvPicPr>
          <p:cNvPr id="3" name="Picture 2"/>
          <p:cNvPicPr>
            <a:picLocks noChangeAspect="1"/>
          </p:cNvPicPr>
          <p:nvPr/>
        </p:nvPicPr>
        <p:blipFill>
          <a:blip r:embed="rId3">
            <a:duotone>
              <a:prstClr val="black"/>
              <a:schemeClr val="accent1">
                <a:tint val="45000"/>
                <a:satMod val="400000"/>
              </a:schemeClr>
            </a:duotone>
          </a:blip>
          <a:stretch>
            <a:fillRect/>
          </a:stretch>
        </p:blipFill>
        <p:spPr>
          <a:xfrm>
            <a:off x="247977" y="852912"/>
            <a:ext cx="331635" cy="230527"/>
          </a:xfrm>
          <a:prstGeom prst="rect">
            <a:avLst/>
          </a:prstGeom>
        </p:spPr>
      </p:pic>
      <p:pic>
        <p:nvPicPr>
          <p:cNvPr id="4" name="Picture 3"/>
          <p:cNvPicPr>
            <a:picLocks noChangeAspect="1"/>
          </p:cNvPicPr>
          <p:nvPr/>
        </p:nvPicPr>
        <p:blipFill>
          <a:blip r:embed="rId4">
            <a:duotone>
              <a:prstClr val="black"/>
              <a:schemeClr val="accent1">
                <a:tint val="45000"/>
                <a:satMod val="400000"/>
              </a:schemeClr>
            </a:duotone>
          </a:blip>
          <a:stretch>
            <a:fillRect/>
          </a:stretch>
        </p:blipFill>
        <p:spPr>
          <a:xfrm>
            <a:off x="3018292" y="815221"/>
            <a:ext cx="491635" cy="305907"/>
          </a:xfrm>
          <a:prstGeom prst="rect">
            <a:avLst/>
          </a:prstGeom>
        </p:spPr>
      </p:pic>
      <p:graphicFrame>
        <p:nvGraphicFramePr>
          <p:cNvPr id="9" name="Table 8"/>
          <p:cNvGraphicFramePr>
            <a:graphicFrameLocks noGrp="1"/>
          </p:cNvGraphicFramePr>
          <p:nvPr>
            <p:extLst/>
          </p:nvPr>
        </p:nvGraphicFramePr>
        <p:xfrm>
          <a:off x="199795" y="1211586"/>
          <a:ext cx="12123176" cy="5448842"/>
        </p:xfrm>
        <a:graphic>
          <a:graphicData uri="http://schemas.openxmlformats.org/drawingml/2006/table">
            <a:tbl>
              <a:tblPr>
                <a:tableStyleId>{3C2FFA5D-87B4-456A-9821-1D502468CF0F}</a:tableStyleId>
              </a:tblPr>
              <a:tblGrid>
                <a:gridCol w="2755253">
                  <a:extLst>
                    <a:ext uri="{9D8B030D-6E8A-4147-A177-3AD203B41FA5}">
                      <a16:colId xmlns="" xmlns:a16="http://schemas.microsoft.com/office/drawing/2014/main" val="3574659874"/>
                    </a:ext>
                  </a:extLst>
                </a:gridCol>
                <a:gridCol w="9367923">
                  <a:extLst>
                    <a:ext uri="{9D8B030D-6E8A-4147-A177-3AD203B41FA5}">
                      <a16:colId xmlns="" xmlns:a16="http://schemas.microsoft.com/office/drawing/2014/main" val="1905114080"/>
                    </a:ext>
                  </a:extLst>
                </a:gridCol>
              </a:tblGrid>
              <a:tr h="246475">
                <a:tc>
                  <a:txBody>
                    <a:bodyPr/>
                    <a:lstStyle/>
                    <a:p>
                      <a:r>
                        <a:rPr lang="en-US" sz="1500" b="1" dirty="0"/>
                        <a:t>Source</a:t>
                      </a:r>
                      <a:endParaRPr lang="en-US" sz="1500" b="1" dirty="0">
                        <a:solidFill>
                          <a:srgbClr val="000000"/>
                        </a:solidFill>
                      </a:endParaRPr>
                    </a:p>
                  </a:txBody>
                  <a:tcPr marL="13325" marR="13325" marT="6662" marB="6662" anchor="ctr"/>
                </a:tc>
                <a:tc>
                  <a:txBody>
                    <a:bodyPr/>
                    <a:lstStyle/>
                    <a:p>
                      <a:r>
                        <a:rPr lang="en-US" sz="1500" b="1" dirty="0"/>
                        <a:t>Sink</a:t>
                      </a:r>
                      <a:endParaRPr lang="en-US" sz="1500" b="1" dirty="0">
                        <a:solidFill>
                          <a:srgbClr val="000000"/>
                        </a:solidFill>
                      </a:endParaRPr>
                    </a:p>
                  </a:txBody>
                  <a:tcPr marL="13325" marR="13325" marT="6662" marB="6662" anchor="ctr"/>
                </a:tc>
                <a:extLst>
                  <a:ext uri="{0D108BD9-81ED-4DB2-BD59-A6C34878D82A}">
                    <a16:rowId xmlns="" xmlns:a16="http://schemas.microsoft.com/office/drawing/2014/main" val="1623889821"/>
                  </a:ext>
                </a:extLst>
              </a:tr>
              <a:tr h="479626">
                <a:tc>
                  <a:txBody>
                    <a:bodyPr/>
                    <a:lstStyle/>
                    <a:p>
                      <a:r>
                        <a:rPr lang="en-US" sz="1500" dirty="0"/>
                        <a:t> Blob</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a:t>
                      </a:r>
                      <a:r>
                        <a:rPr lang="en-US" sz="1500" dirty="0" err="1"/>
                        <a:t>OnPrem</a:t>
                      </a:r>
                      <a:r>
                        <a:rPr lang="en-US" sz="1500" dirty="0"/>
                        <a:t> File System,  Data Lake Store</a:t>
                      </a:r>
                      <a:endParaRPr lang="en-US" sz="1500" dirty="0">
                        <a:solidFill>
                          <a:srgbClr val="000000"/>
                        </a:solidFill>
                      </a:endParaRPr>
                    </a:p>
                  </a:txBody>
                  <a:tcPr marL="13325" marR="13325" marT="6662" marB="6662" anchor="ctr"/>
                </a:tc>
                <a:extLst>
                  <a:ext uri="{0D108BD9-81ED-4DB2-BD59-A6C34878D82A}">
                    <a16:rowId xmlns="" xmlns:a16="http://schemas.microsoft.com/office/drawing/2014/main" val="1967277091"/>
                  </a:ext>
                </a:extLst>
              </a:tr>
              <a:tr h="479626">
                <a:tc>
                  <a:txBody>
                    <a:bodyPr/>
                    <a:lstStyle/>
                    <a:p>
                      <a:r>
                        <a:rPr lang="en-US" sz="1500" dirty="0"/>
                        <a:t> Tabl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Data Lake Store</a:t>
                      </a:r>
                      <a:endParaRPr lang="en-US" sz="1500" dirty="0">
                        <a:solidFill>
                          <a:srgbClr val="000000"/>
                        </a:solidFill>
                      </a:endParaRPr>
                    </a:p>
                  </a:txBody>
                  <a:tcPr marL="13325" marR="13325" marT="6662" marB="6662" anchor="ctr"/>
                </a:tc>
                <a:extLst>
                  <a:ext uri="{0D108BD9-81ED-4DB2-BD59-A6C34878D82A}">
                    <a16:rowId xmlns="" xmlns:a16="http://schemas.microsoft.com/office/drawing/2014/main" val="786144791"/>
                  </a:ext>
                </a:extLst>
              </a:tr>
              <a:tr h="479626">
                <a:tc>
                  <a:txBody>
                    <a:bodyPr/>
                    <a:lstStyle/>
                    <a:p>
                      <a:r>
                        <a:rPr lang="en-US" sz="1500" dirty="0"/>
                        <a:t> SQL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Data Lake Store</a:t>
                      </a:r>
                      <a:endParaRPr lang="en-US" sz="1500" dirty="0">
                        <a:solidFill>
                          <a:srgbClr val="000000"/>
                        </a:solidFill>
                      </a:endParaRPr>
                    </a:p>
                  </a:txBody>
                  <a:tcPr marL="13325" marR="13325" marT="6662" marB="6662" anchor="ctr"/>
                </a:tc>
                <a:extLst>
                  <a:ext uri="{0D108BD9-81ED-4DB2-BD59-A6C34878D82A}">
                    <a16:rowId xmlns="" xmlns:a16="http://schemas.microsoft.com/office/drawing/2014/main" val="896722728"/>
                  </a:ext>
                </a:extLst>
              </a:tr>
              <a:tr h="479626">
                <a:tc>
                  <a:txBody>
                    <a:bodyPr/>
                    <a:lstStyle/>
                    <a:p>
                      <a:r>
                        <a:rPr lang="en-US" sz="1500" dirty="0"/>
                        <a:t> SQL Data Warehou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Data Lake Store</a:t>
                      </a:r>
                      <a:endParaRPr lang="en-US" sz="1500" dirty="0">
                        <a:solidFill>
                          <a:srgbClr val="000000"/>
                        </a:solidFill>
                      </a:endParaRPr>
                    </a:p>
                  </a:txBody>
                  <a:tcPr marL="13325" marR="13325" marT="6662" marB="6662" anchor="ctr"/>
                </a:tc>
                <a:extLst>
                  <a:ext uri="{0D108BD9-81ED-4DB2-BD59-A6C34878D82A}">
                    <a16:rowId xmlns="" xmlns:a16="http://schemas.microsoft.com/office/drawing/2014/main" val="3370360485"/>
                  </a:ext>
                </a:extLst>
              </a:tr>
              <a:tr h="246475">
                <a:tc>
                  <a:txBody>
                    <a:bodyPr/>
                    <a:lstStyle/>
                    <a:p>
                      <a:r>
                        <a:rPr lang="en-US" sz="1500" dirty="0"/>
                        <a:t> </a:t>
                      </a:r>
                      <a:r>
                        <a:rPr lang="en-US" sz="1500" dirty="0" err="1"/>
                        <a:t>DocumentDB</a:t>
                      </a:r>
                      <a:endParaRPr lang="en-US" sz="1500" dirty="0">
                        <a:solidFill>
                          <a:srgbClr val="000000"/>
                        </a:solidFill>
                      </a:endParaRPr>
                    </a:p>
                  </a:txBody>
                  <a:tcPr marL="13325" marR="13325" marT="6662" marB="6662" anchor="ctr"/>
                </a:tc>
                <a:tc>
                  <a:txBody>
                    <a:bodyPr/>
                    <a:lstStyle/>
                    <a:p>
                      <a:r>
                        <a:rPr lang="en-US" sz="1500" dirty="0"/>
                        <a:t> Blob,  Table,  SQL Database,  SQL Data Warehouse,  Data Lake Store</a:t>
                      </a:r>
                      <a:endParaRPr lang="en-US" sz="1500" dirty="0">
                        <a:solidFill>
                          <a:srgbClr val="000000"/>
                        </a:solidFill>
                      </a:endParaRPr>
                    </a:p>
                  </a:txBody>
                  <a:tcPr marL="13325" marR="13325" marT="6662" marB="6662" anchor="ctr"/>
                </a:tc>
                <a:extLst>
                  <a:ext uri="{0D108BD9-81ED-4DB2-BD59-A6C34878D82A}">
                    <a16:rowId xmlns="" xmlns:a16="http://schemas.microsoft.com/office/drawing/2014/main" val="367664047"/>
                  </a:ext>
                </a:extLst>
              </a:tr>
              <a:tr h="479626">
                <a:tc>
                  <a:txBody>
                    <a:bodyPr/>
                    <a:lstStyle/>
                    <a:p>
                      <a:r>
                        <a:rPr lang="en-US" sz="1500" dirty="0"/>
                        <a:t> Data Lake Stor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a:t>
                      </a:r>
                      <a:r>
                        <a:rPr lang="en-US" sz="1500" dirty="0" err="1"/>
                        <a:t>OnPrem</a:t>
                      </a:r>
                      <a:r>
                        <a:rPr lang="en-US" sz="1500" dirty="0"/>
                        <a:t> File System,  Data Lake Store</a:t>
                      </a:r>
                      <a:endParaRPr lang="en-US" sz="1500" dirty="0">
                        <a:solidFill>
                          <a:srgbClr val="000000"/>
                        </a:solidFill>
                      </a:endParaRPr>
                    </a:p>
                  </a:txBody>
                  <a:tcPr marL="13325" marR="13325" marT="6662" marB="6662" anchor="ctr"/>
                </a:tc>
                <a:extLst>
                  <a:ext uri="{0D108BD9-81ED-4DB2-BD59-A6C34878D82A}">
                    <a16:rowId xmlns="" xmlns:a16="http://schemas.microsoft.com/office/drawing/2014/main" val="3478473822"/>
                  </a:ext>
                </a:extLst>
              </a:tr>
              <a:tr h="259767">
                <a:tc>
                  <a:txBody>
                    <a:bodyPr/>
                    <a:lstStyle/>
                    <a:p>
                      <a:r>
                        <a:rPr lang="en-US" sz="1500" dirty="0"/>
                        <a:t>SQL Server on IaaS</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 xmlns:a16="http://schemas.microsoft.com/office/drawing/2014/main" val="1747439040"/>
                  </a:ext>
                </a:extLst>
              </a:tr>
              <a:tr h="479626">
                <a:tc>
                  <a:txBody>
                    <a:bodyPr/>
                    <a:lstStyle/>
                    <a:p>
                      <a:r>
                        <a:rPr lang="en-US" sz="1500" dirty="0" err="1"/>
                        <a:t>OnPrem</a:t>
                      </a:r>
                      <a:r>
                        <a:rPr lang="en-US" sz="1500" dirty="0"/>
                        <a:t> File System</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OnPrem</a:t>
                      </a:r>
                      <a:r>
                        <a:rPr lang="en-US" sz="1500" dirty="0"/>
                        <a:t> File System,  Data Lake Store</a:t>
                      </a:r>
                      <a:endParaRPr lang="en-US" sz="1500" dirty="0">
                        <a:solidFill>
                          <a:srgbClr val="000000"/>
                        </a:solidFill>
                      </a:endParaRPr>
                    </a:p>
                  </a:txBody>
                  <a:tcPr marL="13325" marR="13325" marT="6662" marB="6662" anchor="ctr"/>
                </a:tc>
                <a:extLst>
                  <a:ext uri="{0D108BD9-81ED-4DB2-BD59-A6C34878D82A}">
                    <a16:rowId xmlns="" xmlns:a16="http://schemas.microsoft.com/office/drawing/2014/main" val="2410722271"/>
                  </a:ext>
                </a:extLst>
              </a:tr>
              <a:tr h="259767">
                <a:tc>
                  <a:txBody>
                    <a:bodyPr/>
                    <a:lstStyle/>
                    <a:p>
                      <a:r>
                        <a:rPr lang="en-US" sz="1500" dirty="0" err="1"/>
                        <a:t>OnPrem</a:t>
                      </a:r>
                      <a:r>
                        <a:rPr lang="en-US" sz="1500" dirty="0"/>
                        <a:t> SQL Server</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 xmlns:a16="http://schemas.microsoft.com/office/drawing/2014/main" val="435880020"/>
                  </a:ext>
                </a:extLst>
              </a:tr>
              <a:tr h="259767">
                <a:tc>
                  <a:txBody>
                    <a:bodyPr/>
                    <a:lstStyle/>
                    <a:p>
                      <a:r>
                        <a:rPr lang="en-US" sz="1500" dirty="0" err="1"/>
                        <a:t>OnPrem</a:t>
                      </a:r>
                      <a:r>
                        <a:rPr lang="en-US" sz="1500" dirty="0"/>
                        <a:t> Oracle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 xmlns:a16="http://schemas.microsoft.com/office/drawing/2014/main" val="1713423686"/>
                  </a:ext>
                </a:extLst>
              </a:tr>
              <a:tr h="259767">
                <a:tc>
                  <a:txBody>
                    <a:bodyPr/>
                    <a:lstStyle/>
                    <a:p>
                      <a:r>
                        <a:rPr lang="en-US" sz="1500" dirty="0" err="1"/>
                        <a:t>OnPrem</a:t>
                      </a:r>
                      <a:r>
                        <a:rPr lang="en-US" sz="1500" dirty="0"/>
                        <a:t> MySQL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 xmlns:a16="http://schemas.microsoft.com/office/drawing/2014/main" val="3351972753"/>
                  </a:ext>
                </a:extLst>
              </a:tr>
              <a:tr h="259767">
                <a:tc>
                  <a:txBody>
                    <a:bodyPr/>
                    <a:lstStyle/>
                    <a:p>
                      <a:r>
                        <a:rPr lang="en-US" sz="1500" dirty="0" err="1"/>
                        <a:t>OnPrem</a:t>
                      </a:r>
                      <a:r>
                        <a:rPr lang="en-US" sz="1500" dirty="0"/>
                        <a:t> DB2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 xmlns:a16="http://schemas.microsoft.com/office/drawing/2014/main" val="3459064860"/>
                  </a:ext>
                </a:extLst>
              </a:tr>
              <a:tr h="259767">
                <a:tc>
                  <a:txBody>
                    <a:bodyPr/>
                    <a:lstStyle/>
                    <a:p>
                      <a:r>
                        <a:rPr lang="en-US" sz="1500" dirty="0" err="1"/>
                        <a:t>OnPrem</a:t>
                      </a:r>
                      <a:r>
                        <a:rPr lang="en-US" sz="1500" dirty="0"/>
                        <a:t> Teradata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 xmlns:a16="http://schemas.microsoft.com/office/drawing/2014/main" val="3494564059"/>
                  </a:ext>
                </a:extLst>
              </a:tr>
              <a:tr h="259767">
                <a:tc>
                  <a:txBody>
                    <a:bodyPr/>
                    <a:lstStyle/>
                    <a:p>
                      <a:r>
                        <a:rPr lang="en-US" sz="1500" dirty="0" err="1"/>
                        <a:t>OnPrem</a:t>
                      </a:r>
                      <a:r>
                        <a:rPr lang="en-US" sz="1500" dirty="0"/>
                        <a:t> Sybase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 xmlns:a16="http://schemas.microsoft.com/office/drawing/2014/main" val="894150089"/>
                  </a:ext>
                </a:extLst>
              </a:tr>
              <a:tr h="259767">
                <a:tc>
                  <a:txBody>
                    <a:bodyPr/>
                    <a:lstStyle/>
                    <a:p>
                      <a:r>
                        <a:rPr lang="en-US" sz="1500" dirty="0" err="1"/>
                        <a:t>OnPrem</a:t>
                      </a:r>
                      <a:r>
                        <a:rPr lang="en-US" sz="1500" dirty="0"/>
                        <a:t> PostgreSQL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 xmlns:a16="http://schemas.microsoft.com/office/drawing/2014/main" val="2992693200"/>
                  </a:ext>
                </a:extLst>
              </a:tr>
            </a:tbl>
          </a:graphicData>
        </a:graphic>
      </p:graphicFrame>
    </p:spTree>
    <p:extLst>
      <p:ext uri="{BB962C8B-B14F-4D97-AF65-F5344CB8AC3E}">
        <p14:creationId xmlns:p14="http://schemas.microsoft.com/office/powerpoint/2010/main" val="2220298447"/>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2"/>
            <a:ext cx="11884506" cy="1129044"/>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Activity Options</a:t>
            </a:r>
          </a:p>
        </p:txBody>
      </p:sp>
      <p:graphicFrame>
        <p:nvGraphicFramePr>
          <p:cNvPr id="4" name="Table 3"/>
          <p:cNvGraphicFramePr>
            <a:graphicFrameLocks noGrp="1"/>
          </p:cNvGraphicFramePr>
          <p:nvPr>
            <p:extLst/>
          </p:nvPr>
        </p:nvGraphicFramePr>
        <p:xfrm>
          <a:off x="351166" y="1363965"/>
          <a:ext cx="11733135" cy="4749996"/>
        </p:xfrm>
        <a:graphic>
          <a:graphicData uri="http://schemas.openxmlformats.org/drawingml/2006/table">
            <a:tbl>
              <a:tblPr firstRow="1" firstCol="1">
                <a:tableStyleId>{ED083AE6-46FA-4A59-8FB0-9F97EB10719F}</a:tableStyleId>
              </a:tblPr>
              <a:tblGrid>
                <a:gridCol w="6079421">
                  <a:extLst>
                    <a:ext uri="{9D8B030D-6E8A-4147-A177-3AD203B41FA5}">
                      <a16:colId xmlns="" xmlns:a16="http://schemas.microsoft.com/office/drawing/2014/main" val="956320187"/>
                    </a:ext>
                  </a:extLst>
                </a:gridCol>
                <a:gridCol w="5653714">
                  <a:extLst>
                    <a:ext uri="{9D8B030D-6E8A-4147-A177-3AD203B41FA5}">
                      <a16:colId xmlns="" xmlns:a16="http://schemas.microsoft.com/office/drawing/2014/main" val="4203696472"/>
                    </a:ext>
                  </a:extLst>
                </a:gridCol>
              </a:tblGrid>
              <a:tr h="480302">
                <a:tc>
                  <a:txBody>
                    <a:bodyPr/>
                    <a:lstStyle/>
                    <a:p>
                      <a:pPr algn="l"/>
                      <a:r>
                        <a:rPr lang="en-US" sz="2800" dirty="0">
                          <a:solidFill>
                            <a:schemeClr val="bg2"/>
                          </a:solidFill>
                        </a:rPr>
                        <a:t>Transformation activity</a:t>
                      </a:r>
                    </a:p>
                  </a:txBody>
                  <a:tcPr marL="53641" marR="53641" marT="26822" marB="26822" anchor="ctr"/>
                </a:tc>
                <a:tc>
                  <a:txBody>
                    <a:bodyPr/>
                    <a:lstStyle/>
                    <a:p>
                      <a:pPr algn="l"/>
                      <a:r>
                        <a:rPr lang="en-US" sz="2800" dirty="0">
                          <a:solidFill>
                            <a:schemeClr val="bg2"/>
                          </a:solidFill>
                        </a:rPr>
                        <a:t>Compute environment</a:t>
                      </a:r>
                    </a:p>
                  </a:txBody>
                  <a:tcPr marL="53641" marR="53641" marT="26822" marB="26822" anchor="ctr"/>
                </a:tc>
                <a:extLst>
                  <a:ext uri="{0D108BD9-81ED-4DB2-BD59-A6C34878D82A}">
                    <a16:rowId xmlns="" xmlns:a16="http://schemas.microsoft.com/office/drawing/2014/main" val="3464614898"/>
                  </a:ext>
                </a:extLst>
              </a:tr>
              <a:tr h="480302">
                <a:tc>
                  <a:txBody>
                    <a:bodyPr/>
                    <a:lstStyle/>
                    <a:p>
                      <a:pPr algn="l"/>
                      <a:r>
                        <a:rPr lang="en-US" sz="2800" dirty="0">
                          <a:solidFill>
                            <a:schemeClr val="accent4">
                              <a:lumMod val="75000"/>
                            </a:schemeClr>
                          </a:solidFill>
                        </a:rPr>
                        <a:t>Hive</a:t>
                      </a:r>
                    </a:p>
                  </a:txBody>
                  <a:tcPr marL="53641" marR="53641" marT="26822" marB="26822" anchor="ctr"/>
                </a:tc>
                <a:tc>
                  <a:txBody>
                    <a:bodyPr/>
                    <a:lstStyle/>
                    <a:p>
                      <a:pPr algn="l"/>
                      <a:r>
                        <a:rPr lang="en-US" sz="2800" dirty="0">
                          <a:solidFill>
                            <a:schemeClr val="bg2"/>
                          </a:solidFill>
                        </a:rPr>
                        <a:t>HDInsight [Hadoop]</a:t>
                      </a:r>
                    </a:p>
                  </a:txBody>
                  <a:tcPr marL="53641" marR="53641" marT="26822" marB="26822" anchor="ctr"/>
                </a:tc>
                <a:extLst>
                  <a:ext uri="{0D108BD9-81ED-4DB2-BD59-A6C34878D82A}">
                    <a16:rowId xmlns="" xmlns:a16="http://schemas.microsoft.com/office/drawing/2014/main" val="2934412833"/>
                  </a:ext>
                </a:extLst>
              </a:tr>
              <a:tr h="480302">
                <a:tc>
                  <a:txBody>
                    <a:bodyPr/>
                    <a:lstStyle/>
                    <a:p>
                      <a:pPr algn="l"/>
                      <a:r>
                        <a:rPr lang="en-US" sz="2800" dirty="0">
                          <a:solidFill>
                            <a:schemeClr val="accent4">
                              <a:lumMod val="75000"/>
                            </a:schemeClr>
                          </a:solidFill>
                        </a:rPr>
                        <a:t>Pig</a:t>
                      </a:r>
                    </a:p>
                  </a:txBody>
                  <a:tcPr marL="53641" marR="53641" marT="26822" marB="26822" anchor="ctr"/>
                </a:tc>
                <a:tc>
                  <a:txBody>
                    <a:bodyPr/>
                    <a:lstStyle/>
                    <a:p>
                      <a:pPr algn="l"/>
                      <a:r>
                        <a:rPr lang="en-US" sz="2800">
                          <a:solidFill>
                            <a:schemeClr val="bg2"/>
                          </a:solidFill>
                        </a:rPr>
                        <a:t>HDInsight [Hadoop]</a:t>
                      </a:r>
                    </a:p>
                  </a:txBody>
                  <a:tcPr marL="53641" marR="53641" marT="26822" marB="26822" anchor="ctr"/>
                </a:tc>
                <a:extLst>
                  <a:ext uri="{0D108BD9-81ED-4DB2-BD59-A6C34878D82A}">
                    <a16:rowId xmlns="" xmlns:a16="http://schemas.microsoft.com/office/drawing/2014/main" val="1932753488"/>
                  </a:ext>
                </a:extLst>
              </a:tr>
              <a:tr h="480302">
                <a:tc>
                  <a:txBody>
                    <a:bodyPr/>
                    <a:lstStyle/>
                    <a:p>
                      <a:pPr algn="l"/>
                      <a:r>
                        <a:rPr lang="en-US" sz="2800" dirty="0">
                          <a:solidFill>
                            <a:schemeClr val="accent4">
                              <a:lumMod val="75000"/>
                            </a:schemeClr>
                          </a:solidFill>
                        </a:rPr>
                        <a:t>MapReduce</a:t>
                      </a:r>
                    </a:p>
                  </a:txBody>
                  <a:tcPr marL="53641" marR="53641" marT="26822" marB="26822" anchor="ctr"/>
                </a:tc>
                <a:tc>
                  <a:txBody>
                    <a:bodyPr/>
                    <a:lstStyle/>
                    <a:p>
                      <a:pPr algn="l"/>
                      <a:r>
                        <a:rPr lang="en-US" sz="2800">
                          <a:solidFill>
                            <a:schemeClr val="bg2"/>
                          </a:solidFill>
                        </a:rPr>
                        <a:t>HDInsight [Hadoop]</a:t>
                      </a:r>
                    </a:p>
                  </a:txBody>
                  <a:tcPr marL="53641" marR="53641" marT="26822" marB="26822" anchor="ctr"/>
                </a:tc>
                <a:extLst>
                  <a:ext uri="{0D108BD9-81ED-4DB2-BD59-A6C34878D82A}">
                    <a16:rowId xmlns="" xmlns:a16="http://schemas.microsoft.com/office/drawing/2014/main" val="414174395"/>
                  </a:ext>
                </a:extLst>
              </a:tr>
              <a:tr h="480302">
                <a:tc>
                  <a:txBody>
                    <a:bodyPr/>
                    <a:lstStyle/>
                    <a:p>
                      <a:pPr algn="l"/>
                      <a:r>
                        <a:rPr lang="en-US" sz="2800" dirty="0">
                          <a:solidFill>
                            <a:schemeClr val="accent4">
                              <a:lumMod val="75000"/>
                            </a:schemeClr>
                          </a:solidFill>
                        </a:rPr>
                        <a:t>Hadoop Streaming</a:t>
                      </a:r>
                    </a:p>
                  </a:txBody>
                  <a:tcPr marL="53641" marR="53641" marT="26822" marB="26822" anchor="ctr"/>
                </a:tc>
                <a:tc>
                  <a:txBody>
                    <a:bodyPr/>
                    <a:lstStyle/>
                    <a:p>
                      <a:pPr algn="l"/>
                      <a:r>
                        <a:rPr lang="en-US" sz="2800">
                          <a:solidFill>
                            <a:schemeClr val="bg2"/>
                          </a:solidFill>
                        </a:rPr>
                        <a:t>HDInsight [Hadoop]</a:t>
                      </a:r>
                    </a:p>
                  </a:txBody>
                  <a:tcPr marL="53641" marR="53641" marT="26822" marB="26822" anchor="ctr"/>
                </a:tc>
                <a:extLst>
                  <a:ext uri="{0D108BD9-81ED-4DB2-BD59-A6C34878D82A}">
                    <a16:rowId xmlns="" xmlns:a16="http://schemas.microsoft.com/office/drawing/2014/main" val="3159801222"/>
                  </a:ext>
                </a:extLst>
              </a:tr>
              <a:tr h="906962">
                <a:tc>
                  <a:txBody>
                    <a:bodyPr/>
                    <a:lstStyle/>
                    <a:p>
                      <a:pPr algn="l"/>
                      <a:r>
                        <a:rPr lang="en-US" sz="2800" dirty="0">
                          <a:solidFill>
                            <a:schemeClr val="accent4">
                              <a:lumMod val="75000"/>
                            </a:schemeClr>
                          </a:solidFill>
                        </a:rPr>
                        <a:t>Machine Learning activities: Batch Execution and Update Resource</a:t>
                      </a:r>
                    </a:p>
                  </a:txBody>
                  <a:tcPr marL="53641" marR="53641" marT="26822" marB="26822" anchor="ctr"/>
                </a:tc>
                <a:tc>
                  <a:txBody>
                    <a:bodyPr/>
                    <a:lstStyle/>
                    <a:p>
                      <a:pPr algn="l"/>
                      <a:r>
                        <a:rPr lang="en-US" sz="2800" dirty="0">
                          <a:solidFill>
                            <a:schemeClr val="bg2"/>
                          </a:solidFill>
                        </a:rPr>
                        <a:t>Azure VM</a:t>
                      </a:r>
                    </a:p>
                  </a:txBody>
                  <a:tcPr marL="53641" marR="53641" marT="26822" marB="26822" anchor="ctr"/>
                </a:tc>
                <a:extLst>
                  <a:ext uri="{0D108BD9-81ED-4DB2-BD59-A6C34878D82A}">
                    <a16:rowId xmlns="" xmlns:a16="http://schemas.microsoft.com/office/drawing/2014/main" val="80762818"/>
                  </a:ext>
                </a:extLst>
              </a:tr>
              <a:tr h="480302">
                <a:tc>
                  <a:txBody>
                    <a:bodyPr/>
                    <a:lstStyle/>
                    <a:p>
                      <a:pPr algn="l"/>
                      <a:r>
                        <a:rPr lang="en-US" sz="2800" dirty="0">
                          <a:solidFill>
                            <a:schemeClr val="accent4">
                              <a:lumMod val="75000"/>
                            </a:schemeClr>
                          </a:solidFill>
                        </a:rPr>
                        <a:t>Stored Procedure</a:t>
                      </a:r>
                    </a:p>
                  </a:txBody>
                  <a:tcPr marL="53641" marR="53641" marT="26822" marB="26822" anchor="ctr"/>
                </a:tc>
                <a:tc>
                  <a:txBody>
                    <a:bodyPr/>
                    <a:lstStyle/>
                    <a:p>
                      <a:pPr algn="l"/>
                      <a:r>
                        <a:rPr lang="en-US" sz="2800">
                          <a:solidFill>
                            <a:schemeClr val="bg2"/>
                          </a:solidFill>
                        </a:rPr>
                        <a:t>Azure SQL</a:t>
                      </a:r>
                    </a:p>
                  </a:txBody>
                  <a:tcPr marL="53641" marR="53641" marT="26822" marB="26822" anchor="ctr"/>
                </a:tc>
                <a:extLst>
                  <a:ext uri="{0D108BD9-81ED-4DB2-BD59-A6C34878D82A}">
                    <a16:rowId xmlns="" xmlns:a16="http://schemas.microsoft.com/office/drawing/2014/main" val="971551458"/>
                  </a:ext>
                </a:extLst>
              </a:tr>
              <a:tr h="480302">
                <a:tc>
                  <a:txBody>
                    <a:bodyPr/>
                    <a:lstStyle/>
                    <a:p>
                      <a:pPr algn="l"/>
                      <a:r>
                        <a:rPr lang="en-US" sz="2800" dirty="0">
                          <a:solidFill>
                            <a:schemeClr val="accent4">
                              <a:lumMod val="75000"/>
                            </a:schemeClr>
                          </a:solidFill>
                        </a:rPr>
                        <a:t>Data Lake Analytics U-SQL</a:t>
                      </a:r>
                    </a:p>
                  </a:txBody>
                  <a:tcPr marL="53641" marR="53641" marT="26822" marB="26822" anchor="ctr"/>
                </a:tc>
                <a:tc>
                  <a:txBody>
                    <a:bodyPr/>
                    <a:lstStyle/>
                    <a:p>
                      <a:pPr algn="l"/>
                      <a:r>
                        <a:rPr lang="en-US" sz="2800">
                          <a:solidFill>
                            <a:schemeClr val="bg2"/>
                          </a:solidFill>
                        </a:rPr>
                        <a:t>Azure Data Lake Analytics</a:t>
                      </a:r>
                    </a:p>
                  </a:txBody>
                  <a:tcPr marL="53641" marR="53641" marT="26822" marB="26822" anchor="ctr"/>
                </a:tc>
                <a:extLst>
                  <a:ext uri="{0D108BD9-81ED-4DB2-BD59-A6C34878D82A}">
                    <a16:rowId xmlns="" xmlns:a16="http://schemas.microsoft.com/office/drawing/2014/main" val="1912210201"/>
                  </a:ext>
                </a:extLst>
              </a:tr>
              <a:tr h="480302">
                <a:tc>
                  <a:txBody>
                    <a:bodyPr/>
                    <a:lstStyle/>
                    <a:p>
                      <a:pPr algn="l"/>
                      <a:r>
                        <a:rPr lang="en-US" sz="2800" dirty="0" err="1">
                          <a:solidFill>
                            <a:schemeClr val="accent4">
                              <a:lumMod val="75000"/>
                            </a:schemeClr>
                          </a:solidFill>
                        </a:rPr>
                        <a:t>DotNet</a:t>
                      </a:r>
                      <a:endParaRPr lang="en-US" sz="2800" dirty="0">
                        <a:solidFill>
                          <a:schemeClr val="accent4">
                            <a:lumMod val="75000"/>
                          </a:schemeClr>
                        </a:solidFill>
                      </a:endParaRPr>
                    </a:p>
                  </a:txBody>
                  <a:tcPr marL="53641" marR="53641" marT="26822" marB="26822" anchor="ctr"/>
                </a:tc>
                <a:tc>
                  <a:txBody>
                    <a:bodyPr/>
                    <a:lstStyle/>
                    <a:p>
                      <a:pPr algn="l"/>
                      <a:r>
                        <a:rPr lang="en-US" sz="2800" dirty="0">
                          <a:solidFill>
                            <a:schemeClr val="bg2"/>
                          </a:solidFill>
                        </a:rPr>
                        <a:t>HDInsight [Hadoop] or Azure Batch</a:t>
                      </a:r>
                    </a:p>
                  </a:txBody>
                  <a:tcPr marL="53641" marR="53641" marT="26822" marB="26822" anchor="ctr"/>
                </a:tc>
                <a:extLst>
                  <a:ext uri="{0D108BD9-81ED-4DB2-BD59-A6C34878D82A}">
                    <a16:rowId xmlns="" xmlns:a16="http://schemas.microsoft.com/office/drawing/2014/main" val="3107751975"/>
                  </a:ext>
                </a:extLst>
              </a:tr>
            </a:tbl>
          </a:graphicData>
        </a:graphic>
      </p:graphicFrame>
    </p:spTree>
    <p:extLst>
      <p:ext uri="{BB962C8B-B14F-4D97-AF65-F5344CB8AC3E}">
        <p14:creationId xmlns:p14="http://schemas.microsoft.com/office/powerpoint/2010/main" val="127969162"/>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382947" y="1093328"/>
            <a:ext cx="7411159" cy="4837434"/>
          </a:xfrm>
          <a:prstGeom prst="rect">
            <a:avLst/>
          </a:prstGeom>
        </p:spPr>
      </p:pic>
      <p:sp>
        <p:nvSpPr>
          <p:cNvPr id="4" name="Title 1"/>
          <p:cNvSpPr txBox="1">
            <a:spLocks/>
          </p:cNvSpPr>
          <p:nvPr/>
        </p:nvSpPr>
        <p:spPr>
          <a:xfrm>
            <a:off x="199795" y="82542"/>
            <a:ext cx="11884506" cy="762581"/>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defRPr/>
            </a:pPr>
            <a:r>
              <a:rPr lang="en-US" sz="4799" kern="0" dirty="0">
                <a:solidFill>
                  <a:schemeClr val="bg1"/>
                </a:solidFill>
                <a:latin typeface="Segoe UI Light"/>
              </a:rPr>
              <a:t>Gateway for On-Prem</a:t>
            </a:r>
          </a:p>
        </p:txBody>
      </p:sp>
    </p:spTree>
    <p:extLst>
      <p:ext uri="{BB962C8B-B14F-4D97-AF65-F5344CB8AC3E}">
        <p14:creationId xmlns:p14="http://schemas.microsoft.com/office/powerpoint/2010/main" val="2064186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Create the Linked Services</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301712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44463"/>
            <a:ext cx="7472363" cy="919162"/>
          </a:xfrm>
        </p:spPr>
        <p:txBody>
          <a:bodyPr vert="horz" lIns="186521" tIns="46630" rIns="186521" bIns="46630" rtlCol="0" anchor="t">
            <a:noAutofit/>
          </a:bodyPr>
          <a:lstStyle/>
          <a:p>
            <a:r>
              <a:rPr lang="en-US" dirty="0">
                <a:solidFill>
                  <a:schemeClr val="bg1"/>
                </a:solidFill>
              </a:rPr>
              <a:t>4: Create Datasets</a:t>
            </a:r>
          </a:p>
        </p:txBody>
      </p:sp>
      <p:sp>
        <p:nvSpPr>
          <p:cNvPr id="3" name="Rectangle 2"/>
          <p:cNvSpPr/>
          <p:nvPr/>
        </p:nvSpPr>
        <p:spPr>
          <a:xfrm>
            <a:off x="2675229" y="2328490"/>
            <a:ext cx="6704649" cy="2240437"/>
          </a:xfrm>
          <a:prstGeom prst="rect">
            <a:avLst/>
          </a:prstGeom>
        </p:spPr>
        <p:txBody>
          <a:bodyPr/>
          <a:lstStyle/>
          <a:p>
            <a:pPr defTabSz="914224">
              <a:lnSpc>
                <a:spcPct val="90000"/>
              </a:lnSpc>
              <a:spcBef>
                <a:spcPct val="0"/>
              </a:spcBef>
            </a:pPr>
            <a:r>
              <a:rPr lang="en-US" sz="7198" kern="0" spc="-102" dirty="0">
                <a:ln w="3175">
                  <a:noFill/>
                </a:ln>
                <a:solidFill>
                  <a:schemeClr val="bg1"/>
                </a:solidFill>
                <a:latin typeface="+mj-lt"/>
                <a:cs typeface="Segoe UI" pitchFamily="34" charset="0"/>
              </a:rPr>
              <a:t>Named reference </a:t>
            </a:r>
            <a:r>
              <a:rPr lang="en-US" sz="7198" i="1" kern="0" spc="-102" dirty="0">
                <a:ln w="3175">
                  <a:noFill/>
                </a:ln>
                <a:solidFill>
                  <a:schemeClr val="bg1"/>
                </a:solidFill>
                <a:latin typeface="+mj-lt"/>
                <a:cs typeface="Segoe UI" pitchFamily="34" charset="0"/>
              </a:rPr>
              <a:t>or </a:t>
            </a:r>
            <a:r>
              <a:rPr lang="en-US" sz="7198" kern="0" spc="-102" dirty="0">
                <a:ln w="3175">
                  <a:noFill/>
                </a:ln>
                <a:solidFill>
                  <a:schemeClr val="bg1"/>
                </a:solidFill>
                <a:latin typeface="+mj-lt"/>
                <a:cs typeface="Segoe UI" pitchFamily="34" charset="0"/>
              </a:rPr>
              <a:t>pointer </a:t>
            </a:r>
            <a:r>
              <a:rPr lang="en-US" sz="7198" i="1" kern="0" spc="-102" dirty="0">
                <a:ln w="3175">
                  <a:noFill/>
                </a:ln>
                <a:solidFill>
                  <a:schemeClr val="bg1"/>
                </a:solidFill>
                <a:latin typeface="+mj-lt"/>
                <a:cs typeface="Segoe UI" pitchFamily="34" charset="0"/>
              </a:rPr>
              <a:t>to </a:t>
            </a:r>
            <a:r>
              <a:rPr lang="en-US" sz="7198" kern="0" spc="-102" dirty="0">
                <a:ln w="3175">
                  <a:noFill/>
                </a:ln>
                <a:solidFill>
                  <a:schemeClr val="bg1"/>
                </a:solidFill>
                <a:latin typeface="+mj-lt"/>
                <a:cs typeface="Segoe UI" pitchFamily="34" charset="0"/>
              </a:rPr>
              <a:t>data</a:t>
            </a:r>
          </a:p>
        </p:txBody>
      </p:sp>
    </p:spTree>
    <p:extLst>
      <p:ext uri="{BB962C8B-B14F-4D97-AF65-F5344CB8AC3E}">
        <p14:creationId xmlns:p14="http://schemas.microsoft.com/office/powerpoint/2010/main" val="2983881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1" y="101465"/>
            <a:ext cx="3533963" cy="206813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nvPr>
        </p:nvGraphicFramePr>
        <p:xfrm>
          <a:off x="3900860" y="218011"/>
          <a:ext cx="8029573" cy="6540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0888013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3"/>
            <a:ext cx="11884506" cy="976665"/>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Dataset Concepts</a:t>
            </a:r>
          </a:p>
        </p:txBody>
      </p:sp>
      <p:sp>
        <p:nvSpPr>
          <p:cNvPr id="3" name="Rectangle 2"/>
          <p:cNvSpPr/>
          <p:nvPr/>
        </p:nvSpPr>
        <p:spPr>
          <a:xfrm>
            <a:off x="275480" y="853749"/>
            <a:ext cx="11470984" cy="6058340"/>
          </a:xfrm>
          <a:prstGeom prst="rect">
            <a:avLst/>
          </a:prstGeom>
        </p:spPr>
        <p:txBody>
          <a:bodyPr wrap="square">
            <a:spAutoFit/>
          </a:bodyPr>
          <a:lstStyle/>
          <a:p>
            <a:pPr defTabSz="914224">
              <a:defRPr/>
            </a:pPr>
            <a:r>
              <a:rPr lang="en-US" sz="2000" kern="0" dirty="0">
                <a:solidFill>
                  <a:srgbClr val="C00000"/>
                </a:solidFill>
                <a:latin typeface="Segoe UI Light"/>
              </a:rPr>
              <a:t>{</a:t>
            </a:r>
          </a:p>
          <a:p>
            <a:pPr defTabSz="914224">
              <a:defRPr/>
            </a:pPr>
            <a:r>
              <a:rPr lang="en-US" sz="2000" kern="0" dirty="0">
                <a:solidFill>
                  <a:srgbClr val="C00000"/>
                </a:solidFill>
                <a:latin typeface="Segoe UI Light"/>
              </a:rPr>
              <a:t>    "name": "&lt;name of dataset&gt;",</a:t>
            </a:r>
          </a:p>
          <a:p>
            <a:pPr defTabSz="914224">
              <a:defRPr/>
            </a:pPr>
            <a:r>
              <a:rPr lang="en-US" sz="2000" kern="0" dirty="0">
                <a:solidFill>
                  <a:srgbClr val="C00000"/>
                </a:solidFill>
                <a:latin typeface="Segoe UI Light"/>
              </a:rPr>
              <a:t>    "properties":</a:t>
            </a:r>
          </a:p>
          <a:p>
            <a:pPr defTabSz="914224">
              <a:defRPr/>
            </a:pPr>
            <a:r>
              <a:rPr lang="en-US" sz="2000" kern="0" dirty="0">
                <a:solidFill>
                  <a:srgbClr val="C00000"/>
                </a:solidFill>
                <a:latin typeface="Segoe UI Light"/>
              </a:rPr>
              <a:t>    {</a:t>
            </a:r>
          </a:p>
          <a:p>
            <a:pPr defTabSz="914224">
              <a:defRPr/>
            </a:pPr>
            <a:r>
              <a:rPr lang="en-US" sz="2000" kern="0" dirty="0">
                <a:solidFill>
                  <a:srgbClr val="C00000"/>
                </a:solidFill>
                <a:latin typeface="Segoe UI Light"/>
              </a:rPr>
              <a:t>       "structure": [ ],</a:t>
            </a:r>
          </a:p>
          <a:p>
            <a:pPr defTabSz="914224">
              <a:defRPr/>
            </a:pPr>
            <a:r>
              <a:rPr lang="en-US" sz="2000" kern="0" dirty="0">
                <a:solidFill>
                  <a:srgbClr val="C00000"/>
                </a:solidFill>
                <a:latin typeface="Segoe UI Light"/>
              </a:rPr>
              <a:t>       "type": "&lt;type of dataset&gt;",</a:t>
            </a:r>
          </a:p>
          <a:p>
            <a:pPr defTabSz="914224">
              <a:defRPr/>
            </a:pPr>
            <a:r>
              <a:rPr lang="en-US" sz="2000" kern="0" dirty="0">
                <a:solidFill>
                  <a:srgbClr val="C00000"/>
                </a:solidFill>
                <a:latin typeface="Segoe UI Light"/>
              </a:rPr>
              <a:t>        "external": &lt;</a:t>
            </a:r>
            <a:r>
              <a:rPr lang="en-US" sz="2000" kern="0" dirty="0" err="1">
                <a:solidFill>
                  <a:srgbClr val="C00000"/>
                </a:solidFill>
                <a:latin typeface="Segoe UI Light"/>
              </a:rPr>
              <a:t>boolean</a:t>
            </a:r>
            <a:r>
              <a:rPr lang="en-US" sz="2000" kern="0" dirty="0">
                <a:solidFill>
                  <a:srgbClr val="C00000"/>
                </a:solidFill>
                <a:latin typeface="Segoe UI Light"/>
              </a:rPr>
              <a:t> flag to indicate external data&gt;,</a:t>
            </a:r>
          </a:p>
          <a:p>
            <a:pPr defTabSz="914224">
              <a:defRPr/>
            </a:pPr>
            <a:r>
              <a:rPr lang="en-US" sz="2000" kern="0" dirty="0">
                <a:solidFill>
                  <a:srgbClr val="C00000"/>
                </a:solidFill>
                <a:latin typeface="Segoe UI Light"/>
              </a:rPr>
              <a:t>        "</a:t>
            </a:r>
            <a:r>
              <a:rPr lang="en-US" sz="2000" kern="0" dirty="0" err="1">
                <a:solidFill>
                  <a:srgbClr val="C00000"/>
                </a:solidFill>
                <a:latin typeface="Segoe UI Light"/>
              </a:rPr>
              <a:t>typeProperties</a:t>
            </a:r>
            <a:r>
              <a:rPr lang="en-US" sz="2000" kern="0" dirty="0">
                <a:solidFill>
                  <a:srgbClr val="C00000"/>
                </a:solidFill>
                <a:latin typeface="Segoe UI Light"/>
              </a:rPr>
              <a:t>":</a:t>
            </a:r>
          </a:p>
          <a:p>
            <a:pPr defTabSz="914224">
              <a:defRPr/>
            </a:pPr>
            <a:r>
              <a:rPr lang="en-US" sz="2000" kern="0" dirty="0">
                <a:solidFill>
                  <a:srgbClr val="C00000"/>
                </a:solidFill>
                <a:latin typeface="Segoe UI Light"/>
              </a:rPr>
              <a:t>        {</a:t>
            </a:r>
          </a:p>
          <a:p>
            <a:pPr defTabSz="914224">
              <a:defRPr/>
            </a:pPr>
            <a:r>
              <a:rPr lang="en-US" sz="2000" kern="0" dirty="0">
                <a:solidFill>
                  <a:srgbClr val="C00000"/>
                </a:solidFill>
                <a:latin typeface="Segoe UI Light"/>
              </a:rPr>
              <a:t>        },</a:t>
            </a:r>
          </a:p>
          <a:p>
            <a:pPr defTabSz="914224">
              <a:defRPr/>
            </a:pPr>
            <a:r>
              <a:rPr lang="en-US" sz="2000" kern="0" dirty="0">
                <a:solidFill>
                  <a:srgbClr val="C00000"/>
                </a:solidFill>
                <a:latin typeface="Segoe UI Light"/>
              </a:rPr>
              <a:t>        "availability":</a:t>
            </a:r>
          </a:p>
          <a:p>
            <a:pPr defTabSz="914224">
              <a:defRPr/>
            </a:pPr>
            <a:r>
              <a:rPr lang="en-US" sz="2000" kern="0" dirty="0">
                <a:solidFill>
                  <a:srgbClr val="C00000"/>
                </a:solidFill>
                <a:latin typeface="Segoe UI Light"/>
              </a:rPr>
              <a:t>        {</a:t>
            </a:r>
          </a:p>
          <a:p>
            <a:pPr defTabSz="914224">
              <a:defRPr/>
            </a:pPr>
            <a:endParaRPr lang="en-US" sz="2000" kern="0" dirty="0">
              <a:solidFill>
                <a:srgbClr val="C00000"/>
              </a:solidFill>
              <a:latin typeface="Segoe UI Light"/>
            </a:endParaRPr>
          </a:p>
          <a:p>
            <a:pPr defTabSz="914224">
              <a:defRPr/>
            </a:pPr>
            <a:r>
              <a:rPr lang="en-US" sz="2000" kern="0" dirty="0">
                <a:solidFill>
                  <a:srgbClr val="C00000"/>
                </a:solidFill>
                <a:latin typeface="Segoe UI Light"/>
              </a:rPr>
              <a:t>        },</a:t>
            </a:r>
          </a:p>
          <a:p>
            <a:pPr defTabSz="914224">
              <a:defRPr/>
            </a:pPr>
            <a:r>
              <a:rPr lang="en-US" sz="2000" kern="0" dirty="0">
                <a:solidFill>
                  <a:srgbClr val="C00000"/>
                </a:solidFill>
                <a:latin typeface="Segoe UI Light"/>
              </a:rPr>
              <a:t>       "policy": </a:t>
            </a:r>
          </a:p>
          <a:p>
            <a:pPr defTabSz="914224">
              <a:defRPr/>
            </a:pPr>
            <a:r>
              <a:rPr lang="en-US" sz="2000" kern="0" dirty="0">
                <a:solidFill>
                  <a:srgbClr val="C00000"/>
                </a:solidFill>
                <a:latin typeface="Segoe UI Light"/>
              </a:rPr>
              <a:t>        {      </a:t>
            </a:r>
          </a:p>
          <a:p>
            <a:pPr defTabSz="914224">
              <a:defRPr/>
            </a:pPr>
            <a:endParaRPr lang="en-US" sz="2000" kern="0" dirty="0">
              <a:solidFill>
                <a:srgbClr val="C00000"/>
              </a:solidFill>
              <a:latin typeface="Segoe UI Light"/>
            </a:endParaRPr>
          </a:p>
          <a:p>
            <a:pPr defTabSz="914224">
              <a:defRPr/>
            </a:pPr>
            <a:r>
              <a:rPr lang="en-US" sz="2000" kern="0" dirty="0">
                <a:solidFill>
                  <a:srgbClr val="C00000"/>
                </a:solidFill>
                <a:latin typeface="Segoe UI Light"/>
              </a:rPr>
              <a:t>        }</a:t>
            </a:r>
          </a:p>
          <a:p>
            <a:pPr defTabSz="914224">
              <a:defRPr/>
            </a:pPr>
            <a:r>
              <a:rPr lang="en-US" sz="2000" kern="0" dirty="0">
                <a:solidFill>
                  <a:srgbClr val="C00000"/>
                </a:solidFill>
                <a:latin typeface="Segoe UI Light"/>
              </a:rPr>
              <a:t>    }</a:t>
            </a:r>
            <a:r>
              <a:rPr lang="en-US" sz="2000" kern="0" dirty="0">
                <a:solidFill>
                  <a:sysClr val="windowText" lastClr="000000"/>
                </a:solidFill>
                <a:latin typeface="Segoe UI Light"/>
              </a:rPr>
              <a:t>.</a:t>
            </a:r>
          </a:p>
        </p:txBody>
      </p:sp>
    </p:spTree>
    <p:extLst>
      <p:ext uri="{BB962C8B-B14F-4D97-AF65-F5344CB8AC3E}">
        <p14:creationId xmlns:p14="http://schemas.microsoft.com/office/powerpoint/2010/main" val="3438639301"/>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Create Datasets</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857565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55575"/>
            <a:ext cx="7493000" cy="1008063"/>
          </a:xfrm>
        </p:spPr>
        <p:txBody>
          <a:bodyPr vert="horz" lIns="186521" tIns="46630" rIns="186521" bIns="46630" rtlCol="0" anchor="t">
            <a:noAutofit/>
          </a:bodyPr>
          <a:lstStyle/>
          <a:p>
            <a:r>
              <a:rPr lang="en-US" dirty="0">
                <a:solidFill>
                  <a:schemeClr val="bg1"/>
                </a:solidFill>
              </a:rPr>
              <a:t>5. Create Pipelines</a:t>
            </a:r>
          </a:p>
        </p:txBody>
      </p:sp>
      <p:sp>
        <p:nvSpPr>
          <p:cNvPr id="3" name="Title 1"/>
          <p:cNvSpPr txBox="1">
            <a:spLocks/>
          </p:cNvSpPr>
          <p:nvPr/>
        </p:nvSpPr>
        <p:spPr>
          <a:xfrm>
            <a:off x="2520529" y="2581660"/>
            <a:ext cx="7067970" cy="22856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6599" i="1" dirty="0">
                <a:solidFill>
                  <a:schemeClr val="bg1"/>
                </a:solidFill>
              </a:rPr>
              <a:t>Logical</a:t>
            </a:r>
            <a:r>
              <a:rPr lang="en-US" sz="6599" dirty="0">
                <a:solidFill>
                  <a:schemeClr val="bg1"/>
                </a:solidFill>
              </a:rPr>
              <a:t> </a:t>
            </a:r>
            <a:r>
              <a:rPr lang="en-US" sz="6599" i="1" dirty="0">
                <a:solidFill>
                  <a:schemeClr val="bg1"/>
                </a:solidFill>
              </a:rPr>
              <a:t>Grouping </a:t>
            </a:r>
            <a:r>
              <a:rPr lang="en-US" sz="6599" dirty="0">
                <a:solidFill>
                  <a:schemeClr val="bg1"/>
                </a:solidFill>
              </a:rPr>
              <a:t>of Activities</a:t>
            </a:r>
          </a:p>
        </p:txBody>
      </p:sp>
    </p:spTree>
    <p:extLst>
      <p:ext uri="{BB962C8B-B14F-4D97-AF65-F5344CB8AC3E}">
        <p14:creationId xmlns:p14="http://schemas.microsoft.com/office/powerpoint/2010/main" val="1619514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2"/>
            <a:ext cx="11884506" cy="762581"/>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Pipeline Concepts</a:t>
            </a:r>
          </a:p>
        </p:txBody>
      </p:sp>
      <p:sp>
        <p:nvSpPr>
          <p:cNvPr id="3" name="Rectangle 2"/>
          <p:cNvSpPr/>
          <p:nvPr/>
        </p:nvSpPr>
        <p:spPr>
          <a:xfrm>
            <a:off x="1570697" y="1059208"/>
            <a:ext cx="8228432" cy="5807216"/>
          </a:xfrm>
          <a:prstGeom prst="rect">
            <a:avLst/>
          </a:prstGeom>
        </p:spPr>
        <p:txBody>
          <a:bodyPr wrap="square">
            <a:spAutoFit/>
          </a:bodyPr>
          <a:lstStyle/>
          <a:p>
            <a:pPr defTabSz="914224"/>
            <a:r>
              <a:rPr lang="en-US" sz="2800" kern="0" dirty="0">
                <a:solidFill>
                  <a:srgbClr val="FF0000"/>
                </a:solidFill>
              </a:rPr>
              <a:t>{</a:t>
            </a:r>
          </a:p>
          <a:p>
            <a:pPr defTabSz="914224"/>
            <a:r>
              <a:rPr lang="en-US" sz="2800" kern="0" dirty="0">
                <a:solidFill>
                  <a:srgbClr val="FF0000"/>
                </a:solidFill>
              </a:rPr>
              <a:t>    "name": "</a:t>
            </a:r>
            <a:r>
              <a:rPr lang="en-US" sz="2800" kern="0" dirty="0" err="1">
                <a:solidFill>
                  <a:srgbClr val="FF0000"/>
                </a:solidFill>
              </a:rPr>
              <a:t>PipelineName</a:t>
            </a:r>
            <a:r>
              <a:rPr lang="en-US" sz="2800" kern="0" dirty="0">
                <a:solidFill>
                  <a:srgbClr val="FF0000"/>
                </a:solidFill>
              </a:rPr>
              <a:t>",</a:t>
            </a:r>
          </a:p>
          <a:p>
            <a:pPr defTabSz="914224"/>
            <a:r>
              <a:rPr lang="en-US" sz="2800" kern="0" dirty="0">
                <a:solidFill>
                  <a:srgbClr val="FF0000"/>
                </a:solidFill>
              </a:rPr>
              <a:t>    "properties": </a:t>
            </a:r>
          </a:p>
          <a:p>
            <a:pPr defTabSz="914224"/>
            <a:r>
              <a:rPr lang="en-US" sz="2800" kern="0" dirty="0">
                <a:solidFill>
                  <a:srgbClr val="FF0000"/>
                </a:solidFill>
              </a:rPr>
              <a:t>    {</a:t>
            </a:r>
          </a:p>
          <a:p>
            <a:pPr defTabSz="914224"/>
            <a:r>
              <a:rPr lang="en-US" sz="2800" kern="0" dirty="0">
                <a:solidFill>
                  <a:srgbClr val="FF0000"/>
                </a:solidFill>
              </a:rPr>
              <a:t>        "description" : "pipeline description",</a:t>
            </a:r>
          </a:p>
          <a:p>
            <a:pPr defTabSz="914224"/>
            <a:r>
              <a:rPr lang="en-US" sz="2800" kern="0" dirty="0">
                <a:solidFill>
                  <a:srgbClr val="FF0000"/>
                </a:solidFill>
              </a:rPr>
              <a:t>        "activities":</a:t>
            </a:r>
          </a:p>
          <a:p>
            <a:pPr defTabSz="914224"/>
            <a:r>
              <a:rPr lang="en-US" sz="2800" kern="0" dirty="0">
                <a:solidFill>
                  <a:srgbClr val="FF0000"/>
                </a:solidFill>
              </a:rPr>
              <a:t>        [</a:t>
            </a:r>
          </a:p>
          <a:p>
            <a:pPr defTabSz="914224"/>
            <a:endParaRPr lang="en-US" sz="2800" kern="0" dirty="0">
              <a:solidFill>
                <a:srgbClr val="FF0000"/>
              </a:solidFill>
            </a:endParaRPr>
          </a:p>
          <a:p>
            <a:pPr defTabSz="914224"/>
            <a:r>
              <a:rPr lang="en-US" sz="2800" kern="0" dirty="0">
                <a:solidFill>
                  <a:srgbClr val="FF0000"/>
                </a:solidFill>
              </a:rPr>
              <a:t>        ],</a:t>
            </a:r>
          </a:p>
          <a:p>
            <a:pPr defTabSz="914224"/>
            <a:r>
              <a:rPr lang="en-US" sz="2800" kern="0" dirty="0">
                <a:solidFill>
                  <a:srgbClr val="FF0000"/>
                </a:solidFill>
              </a:rPr>
              <a:t>        "start": "&lt;start date-time&gt;",</a:t>
            </a:r>
          </a:p>
          <a:p>
            <a:pPr defTabSz="914224"/>
            <a:r>
              <a:rPr lang="en-US" sz="2800" kern="0" dirty="0">
                <a:solidFill>
                  <a:srgbClr val="FF0000"/>
                </a:solidFill>
              </a:rPr>
              <a:t>        "end": "&lt;end date-time&gt;"</a:t>
            </a:r>
          </a:p>
          <a:p>
            <a:pPr defTabSz="914224"/>
            <a:r>
              <a:rPr lang="en-US" sz="2800" kern="0" dirty="0">
                <a:solidFill>
                  <a:srgbClr val="FF0000"/>
                </a:solidFill>
              </a:rPr>
              <a:t>    }</a:t>
            </a:r>
          </a:p>
          <a:p>
            <a:pPr defTabSz="914224"/>
            <a:r>
              <a:rPr lang="en-US" sz="2800" kern="0" dirty="0">
                <a:solidFill>
                  <a:srgbClr val="FF0000"/>
                </a:solidFill>
              </a:rPr>
              <a:t>}</a:t>
            </a:r>
          </a:p>
        </p:txBody>
      </p:sp>
    </p:spTree>
    <p:extLst>
      <p:ext uri="{BB962C8B-B14F-4D97-AF65-F5344CB8AC3E}">
        <p14:creationId xmlns:p14="http://schemas.microsoft.com/office/powerpoint/2010/main" val="1594721699"/>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Create Pipeline(s)</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782130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07963"/>
            <a:ext cx="7232650" cy="917575"/>
          </a:xfrm>
        </p:spPr>
        <p:txBody>
          <a:bodyPr/>
          <a:lstStyle/>
          <a:p>
            <a:r>
              <a:rPr lang="en-US" dirty="0">
                <a:solidFill>
                  <a:schemeClr val="bg1"/>
                </a:solidFill>
              </a:rPr>
              <a:t>6. Manage and Monitor</a:t>
            </a:r>
          </a:p>
        </p:txBody>
      </p:sp>
      <p:sp>
        <p:nvSpPr>
          <p:cNvPr id="3" name="Title 1"/>
          <p:cNvSpPr txBox="1">
            <a:spLocks/>
          </p:cNvSpPr>
          <p:nvPr/>
        </p:nvSpPr>
        <p:spPr>
          <a:xfrm>
            <a:off x="3441760" y="2947577"/>
            <a:ext cx="6247513" cy="185983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99" b="1" dirty="0">
                <a:solidFill>
                  <a:schemeClr val="bg1"/>
                </a:solidFill>
              </a:rPr>
              <a:t>Scheduling, Monitoring, Disposition</a:t>
            </a:r>
          </a:p>
        </p:txBody>
      </p:sp>
    </p:spTree>
    <p:extLst>
      <p:ext uri="{BB962C8B-B14F-4D97-AF65-F5344CB8AC3E}">
        <p14:creationId xmlns:p14="http://schemas.microsoft.com/office/powerpoint/2010/main" val="2871944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3"/>
            <a:ext cx="11884506" cy="976665"/>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Locating Failures within a Pipeline</a:t>
            </a:r>
          </a:p>
        </p:txBody>
      </p:sp>
      <p:pic>
        <p:nvPicPr>
          <p:cNvPr id="3" name="Picture 2"/>
          <p:cNvPicPr>
            <a:picLocks noChangeAspect="1"/>
          </p:cNvPicPr>
          <p:nvPr/>
        </p:nvPicPr>
        <p:blipFill>
          <a:blip r:embed="rId3"/>
          <a:stretch>
            <a:fillRect/>
          </a:stretch>
        </p:blipFill>
        <p:spPr>
          <a:xfrm>
            <a:off x="4618264" y="1287775"/>
            <a:ext cx="6857027" cy="5207870"/>
          </a:xfrm>
          <a:prstGeom prst="rect">
            <a:avLst/>
          </a:prstGeom>
        </p:spPr>
      </p:pic>
    </p:spTree>
    <p:extLst>
      <p:ext uri="{BB962C8B-B14F-4D97-AF65-F5344CB8AC3E}">
        <p14:creationId xmlns:p14="http://schemas.microsoft.com/office/powerpoint/2010/main" val="2045761207"/>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883" y="1708"/>
            <a:ext cx="12434711" cy="6991111"/>
          </a:xfrm>
          <a:prstGeom prst="rect">
            <a:avLst/>
          </a:prstGeom>
        </p:spPr>
      </p:pic>
    </p:spTree>
    <p:extLst>
      <p:ext uri="{BB962C8B-B14F-4D97-AF65-F5344CB8AC3E}">
        <p14:creationId xmlns:p14="http://schemas.microsoft.com/office/powerpoint/2010/main" val="4059144969"/>
      </p:ext>
    </p:extLst>
  </p:cSld>
  <p:clrMapOvr>
    <a:masterClrMapping/>
  </p:clrMapOvr>
  <p:transition spd="slow">
    <p:wip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Monitor Pipeline(s)</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04110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 name="Text Placeholder 2"/>
          <p:cNvSpPr txBox="1">
            <a:spLocks/>
          </p:cNvSpPr>
          <p:nvPr/>
        </p:nvSpPr>
        <p:spPr>
          <a:xfrm>
            <a:off x="4369885" y="1825535"/>
            <a:ext cx="7514284" cy="4016484"/>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ADF and its constructs</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Implement an ADF Pipeline referencing Data Sources and with various Activities</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how HDInsight can be used to process data</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the HIVE language and how it is used</a:t>
            </a: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 y="30223"/>
            <a:ext cx="4289544" cy="2510690"/>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6" name="Diagram 35"/>
          <p:cNvGraphicFramePr/>
          <p:nvPr>
            <p:extLst/>
          </p:nvPr>
        </p:nvGraphicFramePr>
        <p:xfrm>
          <a:off x="3866311" y="121118"/>
          <a:ext cx="8100961" cy="6697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2836840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1: </a:t>
            </a:r>
            <a:br>
              <a:rPr lang="en-US" dirty="0"/>
            </a:br>
            <a:r>
              <a:rPr lang="en-US" sz="4400" dirty="0"/>
              <a:t>Data Selection, Processing and Transformation</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14672356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stretch>
            <a:fillRect/>
          </a:stretch>
        </p:blipFill>
        <p:spPr>
          <a:xfrm>
            <a:off x="9234969" y="5555654"/>
            <a:ext cx="1223041" cy="1438871"/>
          </a:xfrm>
          <a:prstGeom prst="rect">
            <a:avLst/>
          </a:prstGeom>
        </p:spPr>
      </p:pic>
      <p:sp>
        <p:nvSpPr>
          <p:cNvPr id="6" name="Text Placeholder 2"/>
          <p:cNvSpPr txBox="1">
            <a:spLocks/>
          </p:cNvSpPr>
          <p:nvPr/>
        </p:nvSpPr>
        <p:spPr>
          <a:xfrm>
            <a:off x="0" y="408790"/>
            <a:ext cx="11887200" cy="634532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00B050"/>
              </a:solidFill>
              <a:effectLst/>
              <a:uLnTx/>
              <a:uFillTx/>
              <a:latin typeface="Segoe UI Light"/>
              <a:ea typeface="+mn-ea"/>
              <a:cs typeface="+mn-cs"/>
            </a:endParaRP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AdventureWorks is a company that makes and sells bicycles. The sales are conducted around the world. We also support our products. But as we’ve made more sales in the last 10 years, we’ve farmed out the support function to various companies that take in maintenance and support issues in call centers around the world.</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We’re growing. And now we want to take our bicycles to several large retailers, but a few of them want to know a lot about our churn rate. </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For over 10 years, we’ve collected a lot of information about our customers and of course we know a lot about our products. But since we’ve outsourced our call centers, we don’t own the databases that hold their data – they will give us an export, though. (They support multiple customers)</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We’re not sure about our churn rate – we have the data of who has and has not bought again, and we think we can get the data from the call centers for the complaints and repairs, but we need a way to analyze a lot of data that has different formats to find a prediction of who will churn and who will not.</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Ideally we want a list of customers we think will churn, in a structured database we could share out to our potential resellers sales staff, so they know how to target at-risk and new clients. </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00B050"/>
              </a:solidFill>
              <a:effectLst/>
              <a:uLnTx/>
              <a:uFillTx/>
              <a:latin typeface="Segoe UI Light"/>
              <a:ea typeface="+mn-ea"/>
              <a:cs typeface="+mn-cs"/>
            </a:endParaRP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1600" b="0" i="0" u="none" strike="noStrike" kern="1200" cap="none" spc="0" normalizeH="0" baseline="0" noProof="0" dirty="0">
                <a:ln>
                  <a:noFill/>
                </a:ln>
                <a:solidFill>
                  <a:srgbClr val="00B050"/>
                </a:solidFill>
                <a:effectLst/>
                <a:uLnTx/>
                <a:uFillTx/>
                <a:latin typeface="Segoe UI Light"/>
                <a:ea typeface="+mn-ea"/>
                <a:cs typeface="+mn-cs"/>
              </a:rPr>
              <a:t>More on our in-house data: https://technet.microsoft.com/en-us/library/ms124501%28v=sql.100%29.aspx</a:t>
            </a:r>
          </a:p>
        </p:txBody>
      </p:sp>
      <p:sp>
        <p:nvSpPr>
          <p:cNvPr id="7" name="Title 1"/>
          <p:cNvSpPr txBox="1">
            <a:spLocks/>
          </p:cNvSpPr>
          <p:nvPr/>
        </p:nvSpPr>
        <p:spPr>
          <a:xfrm>
            <a:off x="0" y="0"/>
            <a:ext cx="7787812" cy="817581"/>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rgbClr val="005AA1"/>
                </a:solidFill>
                <a:effectLst/>
                <a:uLnTx/>
                <a:uFillTx/>
                <a:latin typeface="+mj-lt"/>
                <a:ea typeface="+mn-ea"/>
                <a:cs typeface="Segoe UI" pitchFamily="34" charset="0"/>
              </a:rPr>
              <a:t>Business Case</a:t>
            </a:r>
            <a:endParaRPr kumimoji="0" lang="en-US" sz="4800" b="0" i="0" u="none" strike="noStrike" kern="1200" cap="none" spc="-102" normalizeH="0" baseline="0" noProof="0" dirty="0">
              <a:ln w="3175">
                <a:noFill/>
              </a:ln>
              <a:solidFill>
                <a:srgbClr val="005AA1"/>
              </a:solidFill>
              <a:effectLst/>
              <a:uLnTx/>
              <a:uFillTx/>
              <a:latin typeface="+mj-lt"/>
              <a:ea typeface="+mn-ea"/>
              <a:cs typeface="Segoe UI" pitchFamily="34" charset="0"/>
            </a:endParaRPr>
          </a:p>
        </p:txBody>
      </p:sp>
    </p:spTree>
    <p:extLst>
      <p:ext uri="{BB962C8B-B14F-4D97-AF65-F5344CB8AC3E}">
        <p14:creationId xmlns:p14="http://schemas.microsoft.com/office/powerpoint/2010/main" val="24628142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stretch>
            <a:fillRect/>
          </a:stretch>
        </p:blipFill>
        <p:spPr>
          <a:xfrm>
            <a:off x="9234969" y="5555654"/>
            <a:ext cx="1223041" cy="1438871"/>
          </a:xfrm>
          <a:prstGeom prst="rect">
            <a:avLst/>
          </a:prstGeom>
        </p:spPr>
      </p:pic>
      <p:sp>
        <p:nvSpPr>
          <p:cNvPr id="6" name="Text Placeholder 2"/>
          <p:cNvSpPr txBox="1">
            <a:spLocks/>
          </p:cNvSpPr>
          <p:nvPr/>
        </p:nvSpPr>
        <p:spPr>
          <a:xfrm>
            <a:off x="0" y="408790"/>
            <a:ext cx="11887200" cy="634532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00B050"/>
              </a:solidFill>
              <a:effectLst/>
              <a:uLnTx/>
              <a:uFillTx/>
              <a:latin typeface="Segoe UI Light"/>
              <a:ea typeface="+mn-ea"/>
              <a:cs typeface="+mn-cs"/>
            </a:endParaRP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AdventureWorks is a company that makes and sells bicycles. The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sales are conducted around the world</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We also support our products. But as we’ve made more sales in the last 10 years, we’ve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farmed out the support function</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to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various companies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hat take in maintenance and support issues in call centers around the world.</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We’re growing</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And now we want to take our bicycles to several large retailers, but a few of them want to know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a lot about our churn rate</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For over 10 years, we’ve collected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a lot of information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about our customers and of course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we know a lot about our products</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But since we’ve outsourced our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call centers, we don’t own the databases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hat hold their data – they will give us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an export</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though. (They support multiple customers)</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We’re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not sure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about our churn rate – we have the data of who has and has not bought again, and we think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we can get the data from the call centers for the complaints and repairs</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but we need a way to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analyze a lot of data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hat has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different formats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o find a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prediction</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of who will churn and who will not.</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Ideally</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we want a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list of customers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we think will churn, in a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structured database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we could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share out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o our potential resellers sales staff, so they know how to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target at-risk and new clients</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00B050"/>
              </a:solidFill>
              <a:effectLst/>
              <a:uLnTx/>
              <a:uFillTx/>
              <a:latin typeface="Segoe UI Light"/>
              <a:ea typeface="+mn-ea"/>
              <a:cs typeface="+mn-cs"/>
            </a:endParaRP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1600" b="0" i="0" u="none" strike="noStrike" kern="1200" cap="none" spc="0" normalizeH="0" baseline="0" noProof="0" dirty="0">
                <a:ln>
                  <a:noFill/>
                </a:ln>
                <a:solidFill>
                  <a:srgbClr val="00B050"/>
                </a:solidFill>
                <a:effectLst/>
                <a:uLnTx/>
                <a:uFillTx/>
                <a:latin typeface="Segoe UI Light"/>
                <a:ea typeface="+mn-ea"/>
                <a:cs typeface="+mn-cs"/>
              </a:rPr>
              <a:t>More on our in-house data: https://technet.microsoft.com/en-us/library/ms124501%28v=sql.100%29.aspx</a:t>
            </a:r>
          </a:p>
        </p:txBody>
      </p:sp>
      <p:sp>
        <p:nvSpPr>
          <p:cNvPr id="7" name="Title 1"/>
          <p:cNvSpPr txBox="1">
            <a:spLocks/>
          </p:cNvSpPr>
          <p:nvPr/>
        </p:nvSpPr>
        <p:spPr>
          <a:xfrm>
            <a:off x="0" y="0"/>
            <a:ext cx="7787812" cy="817581"/>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rgbClr val="005AA1"/>
                </a:solidFill>
                <a:effectLst/>
                <a:uLnTx/>
                <a:uFillTx/>
                <a:latin typeface="+mj-lt"/>
                <a:ea typeface="+mn-ea"/>
                <a:cs typeface="Segoe UI" pitchFamily="34" charset="0"/>
              </a:rPr>
              <a:t>Business Case</a:t>
            </a:r>
            <a:endParaRPr kumimoji="0" lang="en-US" sz="4800" b="0" i="0" u="none" strike="noStrike" kern="1200" cap="none" spc="-102" normalizeH="0" baseline="0" noProof="0" dirty="0">
              <a:ln w="3175">
                <a:noFill/>
              </a:ln>
              <a:solidFill>
                <a:srgbClr val="005AA1"/>
              </a:solidFill>
              <a:effectLst/>
              <a:uLnTx/>
              <a:uFillTx/>
              <a:latin typeface="+mj-lt"/>
              <a:ea typeface="+mn-ea"/>
              <a:cs typeface="Segoe UI" pitchFamily="34" charset="0"/>
            </a:endParaRPr>
          </a:p>
        </p:txBody>
      </p:sp>
    </p:spTree>
    <p:extLst>
      <p:ext uri="{BB962C8B-B14F-4D97-AF65-F5344CB8AC3E}">
        <p14:creationId xmlns:p14="http://schemas.microsoft.com/office/powerpoint/2010/main" val="304512171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2: </a:t>
            </a:r>
            <a:br>
              <a:rPr lang="en-US" dirty="0"/>
            </a:br>
            <a:r>
              <a:rPr lang="en-US" sz="4400" dirty="0"/>
              <a:t>HDInsight for Data Manipulation and Processing</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56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anchor="ctr"/>
      <a:lstStyle>
        <a:defPPr>
          <a:defRPr sz="2000" dirty="0">
            <a:latin typeface="Tekton Pro" pitchFamily="34" charset="0"/>
          </a:defRPr>
        </a:defPPr>
      </a:lstStyle>
    </a:spDef>
    <a:lnDef>
      <a:spPr bwMode="auto">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bwMode="auto">
        <a:noFill/>
        <a:ln w="9525">
          <a:noFill/>
          <a:miter lim="800000"/>
          <a:headEnd/>
          <a:tailEnd/>
        </a:ln>
      </a:spPr>
      <a:bodyPr wrap="none">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D79205F35F1AF40BCD07C4F58D4AC80" ma:contentTypeVersion="6" ma:contentTypeDescription="Create a new document." ma:contentTypeScope="" ma:versionID="928b465a6c3029e92fc4756b1ec87666">
  <xsd:schema xmlns:xsd="http://www.w3.org/2001/XMLSchema" xmlns:xs="http://www.w3.org/2001/XMLSchema" xmlns:p="http://schemas.microsoft.com/office/2006/metadata/properties" xmlns:ns1="http://schemas.microsoft.com/sharepoint/v3" xmlns:ns2="9bc6b55d-a734-43bd-8eab-fb065c703cf5" targetNamespace="http://schemas.microsoft.com/office/2006/metadata/properties" ma:root="true" ma:fieldsID="0d30a3c16de9f4b741f5fd3773089e2c" ns1:_="" ns2:_="">
    <xsd:import namespace="http://schemas.microsoft.com/sharepoint/v3"/>
    <xsd:import namespace="9bc6b55d-a734-43bd-8eab-fb065c703cf5"/>
    <xsd:element name="properties">
      <xsd:complexType>
        <xsd:sequence>
          <xsd:element name="documentManagement">
            <xsd:complexType>
              <xsd:all>
                <xsd:element ref="ns2:SharedWithUsers" minOccurs="0"/>
                <xsd:element ref="ns2:SharedWithDetails" minOccurs="0"/>
                <xsd:element ref="ns1:_ip_UnifiedCompliancePolicyProperties" minOccurs="0"/>
                <xsd:element ref="ns1:_ip_UnifiedCompliancePolicyUIAction"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bc6b55d-a734-43bd-8eab-fb065c703cf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internalName="LastSharedByUser" ma:readOnly="true">
      <xsd:simpleType>
        <xsd:restriction base="dms:Note">
          <xsd:maxLength value="255"/>
        </xsd:restriction>
      </xsd:simpleType>
    </xsd:element>
    <xsd:element name="LastSharedByTime" ma:index="13"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13D70770-CB78-4D5D-941D-8EC9F283F1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bc6b55d-a734-43bd-8eab-fb065c703c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DA0CA33-A79C-42CC-B711-4E457C61B82C}">
  <ds:schemaRefs>
    <ds:schemaRef ds:uri="http://schemas.microsoft.com/sharepoint/v3/contenttype/forms"/>
  </ds:schemaRefs>
</ds:datastoreItem>
</file>

<file path=customXml/itemProps3.xml><?xml version="1.0" encoding="utf-8"?>
<ds:datastoreItem xmlns:ds="http://schemas.openxmlformats.org/officeDocument/2006/customXml" ds:itemID="{7321B954-9788-4EA1-AD2B-FCD55044DE3E}">
  <ds:schemaRefs>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http://purl.org/dc/terms/"/>
    <ds:schemaRef ds:uri="http://www.w3.org/XML/1998/namespace"/>
    <ds:schemaRef ds:uri="9bc6b55d-a734-43bd-8eab-fb065c703cf5"/>
    <ds:schemaRef ds:uri="http://schemas.microsoft.com/sharepoint/v3"/>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Cortana%20Analytics_v1</Template>
  <TotalTime>0</TotalTime>
  <Words>3558</Words>
  <Application>Microsoft Macintosh PowerPoint</Application>
  <PresentationFormat>Custom</PresentationFormat>
  <Paragraphs>578</Paragraphs>
  <Slides>49</Slides>
  <Notes>48</Notes>
  <HiddenSlides>0</HiddenSlides>
  <MMClips>0</MMClips>
  <ScaleCrop>false</ScaleCrop>
  <HeadingPairs>
    <vt:vector size="8" baseType="variant">
      <vt:variant>
        <vt:lpstr>Fonts Used</vt:lpstr>
      </vt:variant>
      <vt:variant>
        <vt:i4>12</vt:i4>
      </vt:variant>
      <vt:variant>
        <vt:lpstr>Theme</vt:lpstr>
      </vt:variant>
      <vt:variant>
        <vt:i4>6</vt:i4>
      </vt:variant>
      <vt:variant>
        <vt:lpstr>Embedded OLE Servers</vt:lpstr>
      </vt:variant>
      <vt:variant>
        <vt:i4>1</vt:i4>
      </vt:variant>
      <vt:variant>
        <vt:lpstr>Slide Titles</vt:lpstr>
      </vt:variant>
      <vt:variant>
        <vt:i4>49</vt:i4>
      </vt:variant>
    </vt:vector>
  </HeadingPairs>
  <TitlesOfParts>
    <vt:vector size="68" baseType="lpstr">
      <vt:lpstr>Arial</vt:lpstr>
      <vt:lpstr>Calibri</vt:lpstr>
      <vt:lpstr>Calibri Light</vt:lpstr>
      <vt:lpstr>Cambria</vt:lpstr>
      <vt:lpstr>Courier New</vt:lpstr>
      <vt:lpstr>Myriad Pro</vt:lpstr>
      <vt:lpstr>Segoe UI</vt:lpstr>
      <vt:lpstr>Segoe UI Light</vt:lpstr>
      <vt:lpstr>SimSun</vt:lpstr>
      <vt:lpstr>Times New Roman</vt:lpstr>
      <vt:lpstr>Verdana</vt:lpstr>
      <vt:lpstr>Wingdings</vt:lpstr>
      <vt:lpstr>COLOR TEMPLATE</vt:lpstr>
      <vt:lpstr>1_WHITE TEMPLATE</vt:lpstr>
      <vt:lpstr>2_WHITE TEMPLATE</vt:lpstr>
      <vt:lpstr>FY15 Enterprise identity theme</vt:lpstr>
      <vt:lpstr>Office Theme</vt:lpstr>
      <vt:lpstr>1_SQLintersection</vt:lpstr>
      <vt:lpstr>think-cell Slide</vt:lpstr>
      <vt:lpstr>PowerPoint Presentation</vt:lpstr>
      <vt:lpstr>PowerPoint Presentation</vt:lpstr>
      <vt:lpstr>The Data Science Process and Platform</vt:lpstr>
      <vt:lpstr>The Team Data Science Process </vt:lpstr>
      <vt:lpstr>The Cortana Intelligence Platform</vt:lpstr>
      <vt:lpstr>Module 1:  Data Selection, Processing and Transformation</vt:lpstr>
      <vt:lpstr>PowerPoint Presentation</vt:lpstr>
      <vt:lpstr>PowerPoint Presentation</vt:lpstr>
      <vt:lpstr>Module 2:  HDInsight for Data Manipulation and Processing</vt:lpstr>
      <vt:lpstr>Hadoop and HDInsight</vt:lpstr>
      <vt:lpstr>Hadoop</vt:lpstr>
      <vt:lpstr>PowerPoint Presentation</vt:lpstr>
      <vt:lpstr>HDInsight</vt:lpstr>
      <vt:lpstr>Deprecation of HDInsight on Windows</vt:lpstr>
      <vt:lpstr>Deploying HDInsight Clusters</vt:lpstr>
      <vt:lpstr>Using Hive to Query Data</vt:lpstr>
      <vt:lpstr>PowerPoint Presentation</vt:lpstr>
      <vt:lpstr>Hive Client Tools</vt:lpstr>
      <vt:lpstr>PowerPoint Presentation</vt:lpstr>
      <vt:lpstr>Module 3:  Azure Data Factory</vt:lpstr>
      <vt:lpstr>Azure Data Factory</vt:lpstr>
      <vt:lpstr>PowerPoint Presentation</vt:lpstr>
      <vt:lpstr>PowerPoint Presentation</vt:lpstr>
      <vt:lpstr>PowerPoint Presentation</vt:lpstr>
      <vt:lpstr>1. Design Process</vt:lpstr>
      <vt:lpstr>PowerPoint Presentation</vt:lpstr>
      <vt:lpstr>PowerPoint Presentation</vt:lpstr>
      <vt:lpstr>2. Create the Data Factory</vt:lpstr>
      <vt:lpstr>PowerPoint Presentation</vt:lpstr>
      <vt:lpstr>PowerPoint Presentation</vt:lpstr>
      <vt:lpstr>PowerPoint Presentation</vt:lpstr>
      <vt:lpstr>PowerPoint Presentation</vt:lpstr>
      <vt:lpstr>Lab:</vt:lpstr>
      <vt:lpstr>3. Create Linked Services</vt:lpstr>
      <vt:lpstr>PowerPoint Presentation</vt:lpstr>
      <vt:lpstr>PowerPoint Presentation</vt:lpstr>
      <vt:lpstr>PowerPoint Presentation</vt:lpstr>
      <vt:lpstr>Lab:</vt:lpstr>
      <vt:lpstr>4: Create Datasets</vt:lpstr>
      <vt:lpstr>PowerPoint Presentation</vt:lpstr>
      <vt:lpstr>Lab:</vt:lpstr>
      <vt:lpstr>5. Create Pipelines</vt:lpstr>
      <vt:lpstr>PowerPoint Presentation</vt:lpstr>
      <vt:lpstr>Lab:</vt:lpstr>
      <vt:lpstr>6. Manage and Monitor</vt:lpstr>
      <vt:lpstr>PowerPoint Presentation</vt:lpstr>
      <vt:lpstr>PowerPoint Presentation</vt:lpstr>
      <vt:lpstr>Lab:</vt:lpstr>
      <vt:lpstr>PowerPoint Presentation</vt:lpstr>
    </vt:vector>
  </TitlesOfParts>
  <Manager/>
  <Company/>
  <LinksUpToDate>false</LinksUpToDate>
  <SharedDoc>false</SharedDoc>
  <HyperlinksChanged>false</HyperlinksChanged>
  <AppVersion>15.003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tana Intelligence Suite  Foundations – Data Preparation</dc:title>
  <dc:subject/>
  <dc:creator/>
  <cp:keywords/>
  <dc:description/>
  <cp:lastModifiedBy/>
  <cp:revision>2</cp:revision>
  <dcterms:created xsi:type="dcterms:W3CDTF">2016-06-28T18:15:46Z</dcterms:created>
  <dcterms:modified xsi:type="dcterms:W3CDTF">2017-04-04T03:15: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79205F35F1AF40BCD07C4F58D4AC80</vt:lpwstr>
  </property>
</Properties>
</file>